
<file path=[Content_Types].xml><?xml version="1.0" encoding="utf-8"?>
<Types xmlns="http://schemas.openxmlformats.org/package/2006/content-types"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85" r:id="rId2"/>
    <p:sldId id="289" r:id="rId3"/>
    <p:sldId id="286" r:id="rId4"/>
    <p:sldId id="260" r:id="rId5"/>
    <p:sldId id="261" r:id="rId6"/>
    <p:sldId id="268" r:id="rId7"/>
    <p:sldId id="262" r:id="rId8"/>
    <p:sldId id="265" r:id="rId9"/>
    <p:sldId id="263" r:id="rId10"/>
    <p:sldId id="287" r:id="rId11"/>
    <p:sldId id="288" r:id="rId12"/>
    <p:sldId id="269" r:id="rId13"/>
    <p:sldId id="270" r:id="rId14"/>
    <p:sldId id="271" r:id="rId15"/>
    <p:sldId id="272" r:id="rId16"/>
    <p:sldId id="281" r:id="rId17"/>
    <p:sldId id="282" r:id="rId18"/>
    <p:sldId id="284" r:id="rId19"/>
    <p:sldId id="283" r:id="rId20"/>
    <p:sldId id="277" r:id="rId21"/>
    <p:sldId id="273" r:id="rId22"/>
    <p:sldId id="274" r:id="rId23"/>
    <p:sldId id="275" r:id="rId2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7C240B"/>
    <a:srgbClr val="000000"/>
    <a:srgbClr val="FF1919"/>
    <a:srgbClr val="78230D"/>
    <a:srgbClr val="15734B"/>
    <a:srgbClr val="177B50"/>
    <a:srgbClr val="D5F7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8370" autoAdjust="0"/>
    <p:restoredTop sz="94660"/>
  </p:normalViewPr>
  <p:slideViewPr>
    <p:cSldViewPr snapToGrid="0">
      <p:cViewPr>
        <p:scale>
          <a:sx n="53" d="100"/>
          <a:sy n="53" d="100"/>
        </p:scale>
        <p:origin x="664" y="3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atthew\Desktop\HTG\Financial%20Model%20-%20828pm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CA" sz="2400" dirty="0"/>
              <a:t>5-year Financial</a:t>
            </a:r>
            <a:r>
              <a:rPr lang="en-CA" sz="2400" baseline="0" dirty="0"/>
              <a:t> </a:t>
            </a:r>
            <a:r>
              <a:rPr lang="en-CA" sz="2400" dirty="0"/>
              <a:t>Projection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2!$D$27</c:f>
              <c:strCache>
                <c:ptCount val="1"/>
                <c:pt idx="0">
                  <c:v>Total Revenue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val>
            <c:numRef>
              <c:f>Sheet2!$E$27:$BQ$27</c:f>
              <c:numCache>
                <c:formatCode>_("$"* #,##0.00_);_("$"* \(#,##0.00\);_("$"* "-"??_);_(@_)</c:formatCode>
                <c:ptCount val="5"/>
                <c:pt idx="0">
                  <c:v>39170.440929537908</c:v>
                </c:pt>
                <c:pt idx="1">
                  <c:v>130941.91256095751</c:v>
                </c:pt>
                <c:pt idx="2">
                  <c:v>413523.18378492468</c:v>
                </c:pt>
                <c:pt idx="3">
                  <c:v>1306435.0771948167</c:v>
                </c:pt>
                <c:pt idx="4">
                  <c:v>2354083.1614470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902-4FA1-9B9C-7538C5A251CC}"/>
            </c:ext>
          </c:extLst>
        </c:ser>
        <c:ser>
          <c:idx val="1"/>
          <c:order val="1"/>
          <c:tx>
            <c:strRef>
              <c:f>Sheet2!$D$28</c:f>
              <c:strCache>
                <c:ptCount val="1"/>
                <c:pt idx="0">
                  <c:v>Total Cost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val>
            <c:numRef>
              <c:f>Sheet2!$E$28:$BQ$28</c:f>
              <c:numCache>
                <c:formatCode>_("$"* #,##0.00_);_("$"* \(#,##0.00\);_("$"* "-"??_);_(@_)</c:formatCode>
                <c:ptCount val="5"/>
                <c:pt idx="0">
                  <c:v>92308.758397078156</c:v>
                </c:pt>
                <c:pt idx="1">
                  <c:v>121063.68812830152</c:v>
                </c:pt>
                <c:pt idx="2">
                  <c:v>211308.97556739135</c:v>
                </c:pt>
                <c:pt idx="3">
                  <c:v>494537.34653157444</c:v>
                </c:pt>
                <c:pt idx="4">
                  <c:v>853818.154712434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902-4FA1-9B9C-7538C5A251CC}"/>
            </c:ext>
          </c:extLst>
        </c:ser>
        <c:ser>
          <c:idx val="2"/>
          <c:order val="2"/>
          <c:tx>
            <c:strRef>
              <c:f>Sheet2!$D$29</c:f>
              <c:strCache>
                <c:ptCount val="1"/>
                <c:pt idx="0">
                  <c:v>Operating Profit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val>
            <c:numRef>
              <c:f>Sheet2!$E$29:$BQ$29</c:f>
              <c:numCache>
                <c:formatCode>_("$"* #,##0.00_);_("$"* \(#,##0.00\);_("$"* "-"??_);_(@_)</c:formatCode>
                <c:ptCount val="5"/>
                <c:pt idx="0">
                  <c:v>-53138.317467540248</c:v>
                </c:pt>
                <c:pt idx="1">
                  <c:v>9878.2244326560067</c:v>
                </c:pt>
                <c:pt idx="2">
                  <c:v>202214.20821753336</c:v>
                </c:pt>
                <c:pt idx="3">
                  <c:v>811897.73066324228</c:v>
                </c:pt>
                <c:pt idx="4">
                  <c:v>1500265.00673458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902-4FA1-9B9C-7538C5A251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71728128"/>
        <c:axId val="471725176"/>
      </c:barChart>
      <c:catAx>
        <c:axId val="471728128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71725176"/>
        <c:crosses val="autoZero"/>
        <c:auto val="1"/>
        <c:lblAlgn val="ctr"/>
        <c:lblOffset val="100"/>
        <c:noMultiLvlLbl val="0"/>
      </c:catAx>
      <c:valAx>
        <c:axId val="4717251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&quot;$&quot;* #,##0.00_);_(&quot;$&quot;* \(#,##0.00\);_(&quot;$&quot;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717281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F26AF3-F435-450F-A36D-D5981B098F4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C70F53D-7FB0-4FD1-958F-95A013867BE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AE91531-8388-4C6F-A749-43F0B727EA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6B6302-7592-4F29-A14E-5C9BA2E68D96}" type="datetimeFigureOut">
              <a:rPr lang="en-CA" smtClean="0"/>
              <a:t>2019-03-17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589EB6-7AE2-4FA9-9544-3DF7E7460F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01055A-80D6-4256-BB53-9437B5F265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AEB311-33F8-4AB1-9931-D0772A0718FA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2673235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3E31820-35C7-4413-945F-4A4A3DF403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6B6302-7592-4F29-A14E-5C9BA2E68D96}" type="datetimeFigureOut">
              <a:rPr lang="en-CA" smtClean="0"/>
              <a:t>2019-03-17</a:t>
            </a:fld>
            <a:endParaRPr lang="en-CA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904EAE7-85A2-40E0-8965-106B397746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F27233-F848-49E3-B59B-160DD4A40B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AEB311-33F8-4AB1-9931-D0772A0718FA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690558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5F01D3-12BE-4748-B1AF-A0F510CD8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0BA5CDA-B9C7-4141-A55A-3B1DF0C4FC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4AE489F-B045-492C-91A5-F38A2C93B7F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C163BEC-1974-4382-A9AC-6D31349E28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6B6302-7592-4F29-A14E-5C9BA2E68D96}" type="datetimeFigureOut">
              <a:rPr lang="en-CA" smtClean="0"/>
              <a:t>2019-03-17</a:t>
            </a:fld>
            <a:endParaRPr lang="en-C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F1CC6BE-8FBF-407A-B1F6-6EA7948638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23C18FF-648A-4FF9-A4F7-17ED554C55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AEB311-33F8-4AB1-9931-D0772A0718FA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3288864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A80CCA-67E9-4B47-AD33-192170FC20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D1D0F2F-24EB-4C0A-9B67-33443374E71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C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CBAB4B0-2E40-443F-8047-61EB2F1751C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9F49249-EE00-451C-8F99-5CD6598AC5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6B6302-7592-4F29-A14E-5C9BA2E68D96}" type="datetimeFigureOut">
              <a:rPr lang="en-CA" smtClean="0"/>
              <a:t>2019-03-17</a:t>
            </a:fld>
            <a:endParaRPr lang="en-C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1275E74-DE6B-4AF2-B05C-A3E0AFEA8E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A76FE1F-574A-4250-90E6-87CFB63F6B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AEB311-33F8-4AB1-9931-D0772A0718FA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7154779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433D6A-F19D-434C-8AB7-1BEE1DC2B0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92ED4C3-71B3-488B-97D9-59864B51040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FA7712-93DC-4C0A-AD33-86C84A166C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6B6302-7592-4F29-A14E-5C9BA2E68D96}" type="datetimeFigureOut">
              <a:rPr lang="en-CA" smtClean="0"/>
              <a:t>2019-03-17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4E9B56-A113-4E80-910E-B5528F3ABC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97122FC-1736-4437-8395-94AB47503D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AEB311-33F8-4AB1-9931-D0772A0718FA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5046074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9BBF4DD-BE85-464D-99F4-84A7599A987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1FB0A35-4C06-480D-AC70-76A78DEADB3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6FB5302-74B1-4737-9026-47C962C2FF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6B6302-7592-4F29-A14E-5C9BA2E68D96}" type="datetimeFigureOut">
              <a:rPr lang="en-CA" smtClean="0"/>
              <a:t>2019-03-17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37EF6B-1CF0-4006-8D01-B9E7B0D4BD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800FA9-AD18-4F52-A48C-2656D6470D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AEB311-33F8-4AB1-9931-D0772A0718FA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69138927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070E9315-44FB-4BE6-97DA-473E8AC220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056" y="293402"/>
            <a:ext cx="12180000" cy="1008929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7E34E36-0C8E-43C9-98B2-E4D8358D27A7}"/>
              </a:ext>
            </a:extLst>
          </p:cNvPr>
          <p:cNvCxnSpPr>
            <a:cxnSpLocks/>
          </p:cNvCxnSpPr>
          <p:nvPr userDrawn="1"/>
        </p:nvCxnSpPr>
        <p:spPr>
          <a:xfrm>
            <a:off x="0" y="1219201"/>
            <a:ext cx="12180000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43100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ADDF2D-C027-41BC-90A2-B99F5C3731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84BB79-49D8-49D8-8A54-AF34E71D3D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464D3B5-1FF8-4EC1-B0F9-3009FDCD3A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6B6302-7592-4F29-A14E-5C9BA2E68D96}" type="datetimeFigureOut">
              <a:rPr lang="en-CA" smtClean="0"/>
              <a:t>2019-03-17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98B9C94-0ECC-433D-8C85-36F77CECF1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065D15-6889-44CE-B165-6330D08AEB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AEB311-33F8-4AB1-9931-D0772A0718FA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966335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C79BBA-A882-4BFD-9EB6-00D6C4C846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75DA135-3FFF-4F79-8126-5352F2A2F4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9C78DD3-8C02-47F5-980B-F10A0DE4CA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6B6302-7592-4F29-A14E-5C9BA2E68D96}" type="datetimeFigureOut">
              <a:rPr lang="en-CA" smtClean="0"/>
              <a:t>2019-03-17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7DC7C0-FF4D-457D-AEC3-8A8FDFE6BE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37B488-00F1-4B67-8BA4-07B84F02EA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AEB311-33F8-4AB1-9931-D0772A0718FA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7451817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3B0A01-6A4E-4827-8976-35D74C1418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28DAAF-4E57-4D7C-BE9B-32AA42ADBBF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AE358C3-1F16-4CE6-A250-F4F28E75E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C2AD75-10FA-40B3-8E19-4B3F405B8E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6B6302-7592-4F29-A14E-5C9BA2E68D96}" type="datetimeFigureOut">
              <a:rPr lang="en-CA" smtClean="0"/>
              <a:t>2019-03-17</a:t>
            </a:fld>
            <a:endParaRPr lang="en-C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2735F4F-4ACD-40FA-8CBE-8982AC3F88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B7E4041-5146-4E21-96A9-65A6A691A4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AEB311-33F8-4AB1-9931-D0772A0718FA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9136873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1016D5-DA4C-4C80-8F69-E28FB07514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0EFC93-9510-415C-9C6D-31AFE00F03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B2623C0-96FB-4216-8B4E-B25BF1361B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EE8A7B0-418C-4A9C-B528-11EEFE895A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D1B32CB-EA2B-4676-93AE-F100B14FF92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03C03BD-437F-4887-98F5-D20C6962AF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6B6302-7592-4F29-A14E-5C9BA2E68D96}" type="datetimeFigureOut">
              <a:rPr lang="en-CA" smtClean="0"/>
              <a:t>2019-03-17</a:t>
            </a:fld>
            <a:endParaRPr lang="en-CA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982D373-7B94-4404-ADBE-087639267C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70B21F0-5742-4A51-A577-786450A67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AEB311-33F8-4AB1-9931-D0772A0718FA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2954256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05BDE6-56A2-4368-97EF-EE39842E7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349D98F-BA58-4E42-88D2-0D1EF5ACC1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7873" y="6373091"/>
            <a:ext cx="464127" cy="365125"/>
          </a:xfrm>
        </p:spPr>
        <p:txBody>
          <a:bodyPr/>
          <a:lstStyle/>
          <a:p>
            <a:fld id="{6DAEB311-33F8-4AB1-9931-D0772A0718FA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9192434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05BDE6-56A2-4368-97EF-EE39842E70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056" y="293402"/>
            <a:ext cx="12180000" cy="1008929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349D98F-BA58-4E42-88D2-0D1EF5ACC1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7873" y="0"/>
            <a:ext cx="464127" cy="365125"/>
          </a:xfrm>
        </p:spPr>
        <p:txBody>
          <a:bodyPr/>
          <a:lstStyle/>
          <a:p>
            <a:fld id="{6DAEB311-33F8-4AB1-9931-D0772A0718FA}" type="slidenum">
              <a:rPr lang="en-CA" smtClean="0"/>
              <a:t>‹#›</a:t>
            </a:fld>
            <a:endParaRPr lang="en-CA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9133937-9B40-45CE-9FD9-56C2B4BADF9C}"/>
              </a:ext>
            </a:extLst>
          </p:cNvPr>
          <p:cNvSpPr/>
          <p:nvPr userDrawn="1"/>
        </p:nvSpPr>
        <p:spPr>
          <a:xfrm>
            <a:off x="0" y="6492874"/>
            <a:ext cx="4050000" cy="36512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CA" dirty="0"/>
              <a:t>Issues and Analysi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44DBF0B-70AA-4E07-88DB-CFDD92E31735}"/>
              </a:ext>
            </a:extLst>
          </p:cNvPr>
          <p:cNvSpPr/>
          <p:nvPr userDrawn="1"/>
        </p:nvSpPr>
        <p:spPr>
          <a:xfrm>
            <a:off x="4062001" y="6492874"/>
            <a:ext cx="4050000" cy="365126"/>
          </a:xfrm>
          <a:prstGeom prst="rect">
            <a:avLst/>
          </a:prstGeom>
          <a:solidFill>
            <a:srgbClr val="7C240B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/>
              <a:t>Solution and Demo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4FA0A45-1E23-4950-882D-2F390147D39D}"/>
              </a:ext>
            </a:extLst>
          </p:cNvPr>
          <p:cNvSpPr/>
          <p:nvPr userDrawn="1"/>
        </p:nvSpPr>
        <p:spPr>
          <a:xfrm>
            <a:off x="8130000" y="6492874"/>
            <a:ext cx="4050000" cy="365126"/>
          </a:xfrm>
          <a:prstGeom prst="rect">
            <a:avLst/>
          </a:prstGeom>
          <a:solidFill>
            <a:srgbClr val="7C240B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CA" dirty="0"/>
              <a:t>Implementation and Impac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33DE141-94B2-4E47-9808-711DAAD894E2}"/>
              </a:ext>
            </a:extLst>
          </p:cNvPr>
          <p:cNvCxnSpPr>
            <a:cxnSpLocks/>
          </p:cNvCxnSpPr>
          <p:nvPr userDrawn="1"/>
        </p:nvCxnSpPr>
        <p:spPr>
          <a:xfrm>
            <a:off x="0" y="1219201"/>
            <a:ext cx="12180000" cy="0"/>
          </a:xfrm>
          <a:prstGeom prst="line">
            <a:avLst/>
          </a:prstGeom>
          <a:ln w="381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5530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05BDE6-56A2-4368-97EF-EE39842E70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056" y="135084"/>
            <a:ext cx="12180000" cy="1325563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  <a:endParaRPr lang="en-CA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349D98F-BA58-4E42-88D2-0D1EF5ACC1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7873" y="0"/>
            <a:ext cx="464127" cy="365125"/>
          </a:xfrm>
        </p:spPr>
        <p:txBody>
          <a:bodyPr/>
          <a:lstStyle/>
          <a:p>
            <a:fld id="{6DAEB311-33F8-4AB1-9931-D0772A0718FA}" type="slidenum">
              <a:rPr lang="en-CA" smtClean="0"/>
              <a:t>‹#›</a:t>
            </a:fld>
            <a:endParaRPr lang="en-CA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9133937-9B40-45CE-9FD9-56C2B4BADF9C}"/>
              </a:ext>
            </a:extLst>
          </p:cNvPr>
          <p:cNvSpPr/>
          <p:nvPr userDrawn="1"/>
        </p:nvSpPr>
        <p:spPr>
          <a:xfrm>
            <a:off x="0" y="6492874"/>
            <a:ext cx="4050000" cy="365126"/>
          </a:xfrm>
          <a:prstGeom prst="rect">
            <a:avLst/>
          </a:prstGeom>
          <a:solidFill>
            <a:srgbClr val="7C240B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/>
              <a:t>Issues and Analysi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44DBF0B-70AA-4E07-88DB-CFDD92E31735}"/>
              </a:ext>
            </a:extLst>
          </p:cNvPr>
          <p:cNvSpPr/>
          <p:nvPr userDrawn="1"/>
        </p:nvSpPr>
        <p:spPr>
          <a:xfrm>
            <a:off x="4062001" y="6492874"/>
            <a:ext cx="4050000" cy="36512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CA" dirty="0"/>
              <a:t>Solution and Demo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4FA0A45-1E23-4950-882D-2F390147D39D}"/>
              </a:ext>
            </a:extLst>
          </p:cNvPr>
          <p:cNvSpPr/>
          <p:nvPr userDrawn="1"/>
        </p:nvSpPr>
        <p:spPr>
          <a:xfrm>
            <a:off x="8130000" y="6492874"/>
            <a:ext cx="4050000" cy="365126"/>
          </a:xfrm>
          <a:prstGeom prst="rect">
            <a:avLst/>
          </a:prstGeom>
          <a:solidFill>
            <a:srgbClr val="7C240B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CA" dirty="0"/>
              <a:t>Implementation and Impact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87E706F-C97B-4147-B036-BC1959321D2E}"/>
              </a:ext>
            </a:extLst>
          </p:cNvPr>
          <p:cNvCxnSpPr>
            <a:cxnSpLocks/>
          </p:cNvCxnSpPr>
          <p:nvPr userDrawn="1"/>
        </p:nvCxnSpPr>
        <p:spPr>
          <a:xfrm>
            <a:off x="0" y="1219201"/>
            <a:ext cx="12180000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01330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05BDE6-56A2-4368-97EF-EE39842E70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056" y="135083"/>
            <a:ext cx="12180000" cy="1325563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endParaRPr lang="en-CA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349D98F-BA58-4E42-88D2-0D1EF5ACC1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7873" y="0"/>
            <a:ext cx="464127" cy="365125"/>
          </a:xfrm>
        </p:spPr>
        <p:txBody>
          <a:bodyPr/>
          <a:lstStyle/>
          <a:p>
            <a:fld id="{6DAEB311-33F8-4AB1-9931-D0772A0718FA}" type="slidenum">
              <a:rPr lang="en-CA" smtClean="0"/>
              <a:t>‹#›</a:t>
            </a:fld>
            <a:endParaRPr lang="en-CA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9133937-9B40-45CE-9FD9-56C2B4BADF9C}"/>
              </a:ext>
            </a:extLst>
          </p:cNvPr>
          <p:cNvSpPr/>
          <p:nvPr userDrawn="1"/>
        </p:nvSpPr>
        <p:spPr>
          <a:xfrm>
            <a:off x="0" y="6492874"/>
            <a:ext cx="4050000" cy="365126"/>
          </a:xfrm>
          <a:prstGeom prst="rect">
            <a:avLst/>
          </a:prstGeom>
          <a:solidFill>
            <a:srgbClr val="7C240B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/>
              <a:t>Issues and Analysi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44DBF0B-70AA-4E07-88DB-CFDD92E31735}"/>
              </a:ext>
            </a:extLst>
          </p:cNvPr>
          <p:cNvSpPr/>
          <p:nvPr userDrawn="1"/>
        </p:nvSpPr>
        <p:spPr>
          <a:xfrm>
            <a:off x="4062001" y="6492874"/>
            <a:ext cx="4050000" cy="365126"/>
          </a:xfrm>
          <a:prstGeom prst="rect">
            <a:avLst/>
          </a:prstGeom>
          <a:solidFill>
            <a:srgbClr val="7C240B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/>
              <a:t>Solution and Demo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4FA0A45-1E23-4950-882D-2F390147D39D}"/>
              </a:ext>
            </a:extLst>
          </p:cNvPr>
          <p:cNvSpPr/>
          <p:nvPr userDrawn="1"/>
        </p:nvSpPr>
        <p:spPr>
          <a:xfrm>
            <a:off x="8130000" y="6492874"/>
            <a:ext cx="4050000" cy="36512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/>
              <a:t>Implementation and Impact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3267A1A-8890-43BB-8D2B-C43CD05D3902}"/>
              </a:ext>
            </a:extLst>
          </p:cNvPr>
          <p:cNvCxnSpPr>
            <a:cxnSpLocks/>
          </p:cNvCxnSpPr>
          <p:nvPr userDrawn="1"/>
        </p:nvCxnSpPr>
        <p:spPr>
          <a:xfrm>
            <a:off x="0" y="1219201"/>
            <a:ext cx="12180000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24255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7EAEBAE-84C9-4007-9EA6-A21C5CBBF1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929EAA1-D753-4F5C-BAB4-FE1BA2E76C4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CA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DB2618-9E1C-49BD-8EE5-20618CF5FA9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6B6302-7592-4F29-A14E-5C9BA2E68D96}" type="datetimeFigureOut">
              <a:rPr lang="en-CA" smtClean="0"/>
              <a:t>2019-03-17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B206DF-EB20-4E63-9123-6D648684CF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4ECA8F-E8DE-4104-B13B-B7AD667D9E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AEB311-33F8-4AB1-9931-D0772A0718FA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099731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60" r:id="rId6"/>
    <p:sldLayoutId id="2147483661" r:id="rId7"/>
    <p:sldLayoutId id="2147483662" r:id="rId8"/>
    <p:sldLayoutId id="2147483654" r:id="rId9"/>
    <p:sldLayoutId id="2147483655" r:id="rId10"/>
    <p:sldLayoutId id="2147483656" r:id="rId11"/>
    <p:sldLayoutId id="2147483657" r:id="rId12"/>
    <p:sldLayoutId id="2147483658" r:id="rId13"/>
    <p:sldLayoutId id="2147483659" r:id="rId14"/>
    <p:sldLayoutId id="2147483663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26" Type="http://schemas.openxmlformats.org/officeDocument/2006/relationships/tags" Target="../tags/tag26.xml"/><Relationship Id="rId117" Type="http://schemas.openxmlformats.org/officeDocument/2006/relationships/tags" Target="../tags/tag117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63" Type="http://schemas.openxmlformats.org/officeDocument/2006/relationships/tags" Target="../tags/tag63.xml"/><Relationship Id="rId68" Type="http://schemas.openxmlformats.org/officeDocument/2006/relationships/tags" Target="../tags/tag68.xml"/><Relationship Id="rId84" Type="http://schemas.openxmlformats.org/officeDocument/2006/relationships/tags" Target="../tags/tag84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38" Type="http://schemas.openxmlformats.org/officeDocument/2006/relationships/tags" Target="../tags/tag138.xml"/><Relationship Id="rId16" Type="http://schemas.openxmlformats.org/officeDocument/2006/relationships/tags" Target="../tags/tag16.xml"/><Relationship Id="rId107" Type="http://schemas.openxmlformats.org/officeDocument/2006/relationships/tags" Target="../tags/tag107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74" Type="http://schemas.openxmlformats.org/officeDocument/2006/relationships/tags" Target="../tags/tag74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28" Type="http://schemas.openxmlformats.org/officeDocument/2006/relationships/tags" Target="../tags/tag128.xml"/><Relationship Id="rId144" Type="http://schemas.openxmlformats.org/officeDocument/2006/relationships/tags" Target="../tags/tag144.xml"/><Relationship Id="rId149" Type="http://schemas.openxmlformats.org/officeDocument/2006/relationships/tags" Target="../tags/tag149.xml"/><Relationship Id="rId5" Type="http://schemas.openxmlformats.org/officeDocument/2006/relationships/tags" Target="../tags/tag5.xml"/><Relationship Id="rId90" Type="http://schemas.openxmlformats.org/officeDocument/2006/relationships/tags" Target="../tags/tag90.xml"/><Relationship Id="rId95" Type="http://schemas.openxmlformats.org/officeDocument/2006/relationships/tags" Target="../tags/tag95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64" Type="http://schemas.openxmlformats.org/officeDocument/2006/relationships/tags" Target="../tags/tag64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18" Type="http://schemas.openxmlformats.org/officeDocument/2006/relationships/tags" Target="../tags/tag118.xml"/><Relationship Id="rId134" Type="http://schemas.openxmlformats.org/officeDocument/2006/relationships/tags" Target="../tags/tag134.xml"/><Relationship Id="rId139" Type="http://schemas.openxmlformats.org/officeDocument/2006/relationships/tags" Target="../tags/tag139.xml"/><Relationship Id="rId80" Type="http://schemas.openxmlformats.org/officeDocument/2006/relationships/tags" Target="../tags/tag80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tags" Target="../tags/tag59.xml"/><Relationship Id="rId67" Type="http://schemas.openxmlformats.org/officeDocument/2006/relationships/tags" Target="../tags/tag67.xml"/><Relationship Id="rId103" Type="http://schemas.openxmlformats.org/officeDocument/2006/relationships/tags" Target="../tags/tag103.xml"/><Relationship Id="rId108" Type="http://schemas.openxmlformats.org/officeDocument/2006/relationships/tags" Target="../tags/tag108.xml"/><Relationship Id="rId116" Type="http://schemas.openxmlformats.org/officeDocument/2006/relationships/tags" Target="../tags/tag116.xml"/><Relationship Id="rId124" Type="http://schemas.openxmlformats.org/officeDocument/2006/relationships/tags" Target="../tags/tag124.xml"/><Relationship Id="rId129" Type="http://schemas.openxmlformats.org/officeDocument/2006/relationships/tags" Target="../tags/tag129.xml"/><Relationship Id="rId137" Type="http://schemas.openxmlformats.org/officeDocument/2006/relationships/tags" Target="../tags/tag137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62" Type="http://schemas.openxmlformats.org/officeDocument/2006/relationships/tags" Target="../tags/tag62.xml"/><Relationship Id="rId70" Type="http://schemas.openxmlformats.org/officeDocument/2006/relationships/tags" Target="../tags/tag70.xml"/><Relationship Id="rId75" Type="http://schemas.openxmlformats.org/officeDocument/2006/relationships/tags" Target="../tags/tag75.xml"/><Relationship Id="rId83" Type="http://schemas.openxmlformats.org/officeDocument/2006/relationships/tags" Target="../tags/tag83.xml"/><Relationship Id="rId88" Type="http://schemas.openxmlformats.org/officeDocument/2006/relationships/tags" Target="../tags/tag88.xml"/><Relationship Id="rId91" Type="http://schemas.openxmlformats.org/officeDocument/2006/relationships/tags" Target="../tags/tag91.xml"/><Relationship Id="rId96" Type="http://schemas.openxmlformats.org/officeDocument/2006/relationships/tags" Target="../tags/tag96.xml"/><Relationship Id="rId111" Type="http://schemas.openxmlformats.org/officeDocument/2006/relationships/tags" Target="../tags/tag111.xml"/><Relationship Id="rId132" Type="http://schemas.openxmlformats.org/officeDocument/2006/relationships/tags" Target="../tags/tag132.xml"/><Relationship Id="rId140" Type="http://schemas.openxmlformats.org/officeDocument/2006/relationships/tags" Target="../tags/tag140.xml"/><Relationship Id="rId145" Type="http://schemas.openxmlformats.org/officeDocument/2006/relationships/tags" Target="../tags/tag145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tags" Target="../tags/tag57.xml"/><Relationship Id="rId106" Type="http://schemas.openxmlformats.org/officeDocument/2006/relationships/tags" Target="../tags/tag106.xml"/><Relationship Id="rId114" Type="http://schemas.openxmlformats.org/officeDocument/2006/relationships/tags" Target="../tags/tag114.xml"/><Relationship Id="rId119" Type="http://schemas.openxmlformats.org/officeDocument/2006/relationships/tags" Target="../tags/tag119.xml"/><Relationship Id="rId127" Type="http://schemas.openxmlformats.org/officeDocument/2006/relationships/tags" Target="../tags/tag127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73" Type="http://schemas.openxmlformats.org/officeDocument/2006/relationships/tags" Target="../tags/tag73.xml"/><Relationship Id="rId78" Type="http://schemas.openxmlformats.org/officeDocument/2006/relationships/tags" Target="../tags/tag78.xml"/><Relationship Id="rId81" Type="http://schemas.openxmlformats.org/officeDocument/2006/relationships/tags" Target="../tags/tag81.xml"/><Relationship Id="rId86" Type="http://schemas.openxmlformats.org/officeDocument/2006/relationships/tags" Target="../tags/tag86.xml"/><Relationship Id="rId94" Type="http://schemas.openxmlformats.org/officeDocument/2006/relationships/tags" Target="../tags/tag94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122" Type="http://schemas.openxmlformats.org/officeDocument/2006/relationships/tags" Target="../tags/tag122.xml"/><Relationship Id="rId130" Type="http://schemas.openxmlformats.org/officeDocument/2006/relationships/tags" Target="../tags/tag130.xml"/><Relationship Id="rId135" Type="http://schemas.openxmlformats.org/officeDocument/2006/relationships/tags" Target="../tags/tag135.xml"/><Relationship Id="rId143" Type="http://schemas.openxmlformats.org/officeDocument/2006/relationships/tags" Target="../tags/tag143.xml"/><Relationship Id="rId148" Type="http://schemas.openxmlformats.org/officeDocument/2006/relationships/tags" Target="../tags/tag148.xml"/><Relationship Id="rId151" Type="http://schemas.openxmlformats.org/officeDocument/2006/relationships/tags" Target="../tags/tag15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109" Type="http://schemas.openxmlformats.org/officeDocument/2006/relationships/tags" Target="../tags/tag109.xml"/><Relationship Id="rId34" Type="http://schemas.openxmlformats.org/officeDocument/2006/relationships/tags" Target="../tags/tag34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Relationship Id="rId104" Type="http://schemas.openxmlformats.org/officeDocument/2006/relationships/tags" Target="../tags/tag104.xml"/><Relationship Id="rId120" Type="http://schemas.openxmlformats.org/officeDocument/2006/relationships/tags" Target="../tags/tag120.xml"/><Relationship Id="rId125" Type="http://schemas.openxmlformats.org/officeDocument/2006/relationships/tags" Target="../tags/tag125.xml"/><Relationship Id="rId141" Type="http://schemas.openxmlformats.org/officeDocument/2006/relationships/tags" Target="../tags/tag141.xml"/><Relationship Id="rId146" Type="http://schemas.openxmlformats.org/officeDocument/2006/relationships/tags" Target="../tags/tag146.xml"/><Relationship Id="rId7" Type="http://schemas.openxmlformats.org/officeDocument/2006/relationships/tags" Target="../tags/tag7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4" Type="http://schemas.openxmlformats.org/officeDocument/2006/relationships/tags" Target="../tags/tag24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115" Type="http://schemas.openxmlformats.org/officeDocument/2006/relationships/tags" Target="../tags/tag115.xml"/><Relationship Id="rId131" Type="http://schemas.openxmlformats.org/officeDocument/2006/relationships/tags" Target="../tags/tag131.xml"/><Relationship Id="rId136" Type="http://schemas.openxmlformats.org/officeDocument/2006/relationships/tags" Target="../tags/tag136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52" Type="http://schemas.openxmlformats.org/officeDocument/2006/relationships/slideLayout" Target="../slideLayouts/slideLayout9.xml"/><Relationship Id="rId19" Type="http://schemas.openxmlformats.org/officeDocument/2006/relationships/tags" Target="../tags/tag19.xml"/><Relationship Id="rId14" Type="http://schemas.openxmlformats.org/officeDocument/2006/relationships/tags" Target="../tags/tag14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56" Type="http://schemas.openxmlformats.org/officeDocument/2006/relationships/tags" Target="../tags/tag56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42" Type="http://schemas.openxmlformats.org/officeDocument/2006/relationships/tags" Target="../tags/tag142.xml"/><Relationship Id="rId3" Type="http://schemas.openxmlformats.org/officeDocument/2006/relationships/tags" Target="../tags/tag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28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2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34.jpeg"/><Relationship Id="rId4" Type="http://schemas.openxmlformats.org/officeDocument/2006/relationships/image" Target="../media/image3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0.xml"/><Relationship Id="rId5" Type="http://schemas.openxmlformats.org/officeDocument/2006/relationships/hyperlink" Target="https://www.chatelaine.com/living/when-500-isnt-enough-to-buy-groceries-for-a-week/" TargetMode="External"/><Relationship Id="rId4" Type="http://schemas.openxmlformats.org/officeDocument/2006/relationships/hyperlink" Target="https://www.cbc.ca/news/canada/north/20-flour-to-13-juice-a-look-at-the-high-cost-of-food-in-iqaluit-1.3782084" TargetMode="Externa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image" Target="../media/image14.svg"/><Relationship Id="rId7" Type="http://schemas.openxmlformats.org/officeDocument/2006/relationships/image" Target="../media/image18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7.png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4.gif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Image result for northmart">
            <a:extLst>
              <a:ext uri="{FF2B5EF4-FFF2-40B4-BE49-F238E27FC236}">
                <a16:creationId xmlns:a16="http://schemas.microsoft.com/office/drawing/2014/main" id="{9C1AEBED-FFAB-4C7C-9F0C-4A2E953C74F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794" b="8937"/>
          <a:stretch/>
        </p:blipFill>
        <p:spPr bwMode="auto">
          <a:xfrm>
            <a:off x="20" y="10"/>
            <a:ext cx="12191980" cy="6857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76C6367-AA13-48A0-9889-2A7F7FFAC2A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>
              <a:alpha val="69804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6285056-BE1F-4920-9979-45C587F8D305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bg1">
              <a:alpha val="69804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A51BCB7-348B-4B02-A4BB-C53EDAB6125D}"/>
              </a:ext>
            </a:extLst>
          </p:cNvPr>
          <p:cNvSpPr txBox="1"/>
          <p:nvPr/>
        </p:nvSpPr>
        <p:spPr>
          <a:xfrm>
            <a:off x="476249" y="5819775"/>
            <a:ext cx="4572001" cy="769441"/>
          </a:xfrm>
          <a:prstGeom prst="rect">
            <a:avLst/>
          </a:prstGeom>
          <a:solidFill>
            <a:srgbClr val="000000">
              <a:alpha val="50196"/>
            </a:srgbClr>
          </a:solidFill>
        </p:spPr>
        <p:txBody>
          <a:bodyPr wrap="square" rtlCol="0">
            <a:spAutoFit/>
          </a:bodyPr>
          <a:lstStyle/>
          <a:p>
            <a:r>
              <a:rPr lang="en-CA" sz="4400" b="1" dirty="0" err="1">
                <a:solidFill>
                  <a:schemeClr val="bg1"/>
                </a:solidFill>
              </a:rPr>
              <a:t>Northmart</a:t>
            </a:r>
            <a:r>
              <a:rPr lang="en-CA" sz="4000" dirty="0">
                <a:solidFill>
                  <a:schemeClr val="bg1"/>
                </a:solidFill>
              </a:rPr>
              <a:t>, Iqaluit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A3CDD1F-B188-4584-9F94-C1A4BED8F7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79124" y="632570"/>
            <a:ext cx="6633750" cy="501740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2244966-C9A6-4E2D-A4B4-41F63409D5C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62249" y="632570"/>
            <a:ext cx="6699621" cy="501740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7B90A06-4270-4DA3-80ED-15F4C43465D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62249" y="717471"/>
            <a:ext cx="6699621" cy="5017403"/>
          </a:xfrm>
          <a:prstGeom prst="rect">
            <a:avLst/>
          </a:prstGeom>
        </p:spPr>
      </p:pic>
      <p:pic>
        <p:nvPicPr>
          <p:cNvPr id="1030" name="Picture 6" descr="Image result for food prices in iqaluit">
            <a:extLst>
              <a:ext uri="{FF2B5EF4-FFF2-40B4-BE49-F238E27FC236}">
                <a16:creationId xmlns:a16="http://schemas.microsoft.com/office/drawing/2014/main" id="{FD816468-0FF5-44C0-BBB3-B722EA316E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1453" y="651369"/>
            <a:ext cx="6783593" cy="5087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71F064E5-A7E6-4BF2-ADFE-DFD1D1270D7A}"/>
              </a:ext>
            </a:extLst>
          </p:cNvPr>
          <p:cNvSpPr txBox="1"/>
          <p:nvPr/>
        </p:nvSpPr>
        <p:spPr>
          <a:xfrm>
            <a:off x="10000284" y="6004441"/>
            <a:ext cx="1715467" cy="584775"/>
          </a:xfrm>
          <a:prstGeom prst="rect">
            <a:avLst/>
          </a:prstGeom>
          <a:solidFill>
            <a:srgbClr val="000000">
              <a:alpha val="50196"/>
            </a:srgbClr>
          </a:solidFill>
        </p:spPr>
        <p:txBody>
          <a:bodyPr wrap="square" rtlCol="0">
            <a:spAutoFit/>
          </a:bodyPr>
          <a:lstStyle/>
          <a:p>
            <a:r>
              <a:rPr lang="en-CA" sz="3200" b="1" dirty="0">
                <a:solidFill>
                  <a:schemeClr val="bg1"/>
                </a:solidFill>
              </a:rPr>
              <a:t>Team 23</a:t>
            </a:r>
            <a:endParaRPr lang="en-CA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11746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0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15" grpId="0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C5872D-9B5B-490E-B712-FD8C3EB107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	</a:t>
            </a:r>
            <a:r>
              <a:rPr lang="en-CA" dirty="0">
                <a:latin typeface="+mn-lt"/>
              </a:rPr>
              <a:t>Scaling our solution to maximize impact</a:t>
            </a: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47FAE026-79DA-4CA2-A279-38D428E55167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4639532" y="1917045"/>
            <a:ext cx="2634297" cy="2261647"/>
            <a:chOff x="2017713" y="1555750"/>
            <a:chExt cx="5846763" cy="5019675"/>
          </a:xfrm>
        </p:grpSpPr>
        <p:sp>
          <p:nvSpPr>
            <p:cNvPr id="47" name="Freeform 4019">
              <a:extLst>
                <a:ext uri="{FF2B5EF4-FFF2-40B4-BE49-F238E27FC236}">
                  <a16:creationId xmlns:a16="http://schemas.microsoft.com/office/drawing/2014/main" id="{AD683FBB-26D4-497B-A5B8-194B263E5C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19926" y="5241925"/>
              <a:ext cx="407988" cy="657225"/>
            </a:xfrm>
            <a:custGeom>
              <a:avLst/>
              <a:gdLst/>
              <a:ahLst/>
              <a:cxnLst>
                <a:cxn ang="0">
                  <a:pos x="133" y="26"/>
                </a:cxn>
                <a:cxn ang="0">
                  <a:pos x="122" y="29"/>
                </a:cxn>
                <a:cxn ang="0">
                  <a:pos x="117" y="28"/>
                </a:cxn>
                <a:cxn ang="0">
                  <a:pos x="112" y="31"/>
                </a:cxn>
                <a:cxn ang="0">
                  <a:pos x="109" y="20"/>
                </a:cxn>
                <a:cxn ang="0">
                  <a:pos x="102" y="7"/>
                </a:cxn>
                <a:cxn ang="0">
                  <a:pos x="94" y="22"/>
                </a:cxn>
                <a:cxn ang="0">
                  <a:pos x="95" y="31"/>
                </a:cxn>
                <a:cxn ang="0">
                  <a:pos x="90" y="48"/>
                </a:cxn>
                <a:cxn ang="0">
                  <a:pos x="107" y="69"/>
                </a:cxn>
                <a:cxn ang="0">
                  <a:pos x="129" y="50"/>
                </a:cxn>
                <a:cxn ang="0">
                  <a:pos x="137" y="34"/>
                </a:cxn>
                <a:cxn ang="0">
                  <a:pos x="133" y="26"/>
                </a:cxn>
                <a:cxn ang="0">
                  <a:pos x="113" y="78"/>
                </a:cxn>
                <a:cxn ang="0">
                  <a:pos x="106" y="76"/>
                </a:cxn>
                <a:cxn ang="0">
                  <a:pos x="91" y="76"/>
                </a:cxn>
                <a:cxn ang="0">
                  <a:pos x="79" y="81"/>
                </a:cxn>
                <a:cxn ang="0">
                  <a:pos x="64" y="88"/>
                </a:cxn>
                <a:cxn ang="0">
                  <a:pos x="54" y="93"/>
                </a:cxn>
                <a:cxn ang="0">
                  <a:pos x="43" y="93"/>
                </a:cxn>
                <a:cxn ang="0">
                  <a:pos x="31" y="95"/>
                </a:cxn>
                <a:cxn ang="0">
                  <a:pos x="23" y="101"/>
                </a:cxn>
                <a:cxn ang="0">
                  <a:pos x="19" y="109"/>
                </a:cxn>
                <a:cxn ang="0">
                  <a:pos x="21" y="109"/>
                </a:cxn>
                <a:cxn ang="0">
                  <a:pos x="17" y="133"/>
                </a:cxn>
                <a:cxn ang="0">
                  <a:pos x="25" y="127"/>
                </a:cxn>
                <a:cxn ang="0">
                  <a:pos x="34" y="122"/>
                </a:cxn>
                <a:cxn ang="0">
                  <a:pos x="53" y="115"/>
                </a:cxn>
                <a:cxn ang="0">
                  <a:pos x="55" y="118"/>
                </a:cxn>
                <a:cxn ang="0">
                  <a:pos x="44" y="125"/>
                </a:cxn>
                <a:cxn ang="0">
                  <a:pos x="37" y="137"/>
                </a:cxn>
                <a:cxn ang="0">
                  <a:pos x="30" y="130"/>
                </a:cxn>
                <a:cxn ang="0">
                  <a:pos x="18" y="150"/>
                </a:cxn>
                <a:cxn ang="0">
                  <a:pos x="6" y="169"/>
                </a:cxn>
                <a:cxn ang="0">
                  <a:pos x="1" y="180"/>
                </a:cxn>
                <a:cxn ang="0">
                  <a:pos x="3" y="188"/>
                </a:cxn>
                <a:cxn ang="0">
                  <a:pos x="5" y="202"/>
                </a:cxn>
                <a:cxn ang="0">
                  <a:pos x="23" y="212"/>
                </a:cxn>
                <a:cxn ang="0">
                  <a:pos x="39" y="212"/>
                </a:cxn>
                <a:cxn ang="0">
                  <a:pos x="44" y="196"/>
                </a:cxn>
                <a:cxn ang="0">
                  <a:pos x="51" y="176"/>
                </a:cxn>
                <a:cxn ang="0">
                  <a:pos x="51" y="155"/>
                </a:cxn>
                <a:cxn ang="0">
                  <a:pos x="63" y="151"/>
                </a:cxn>
                <a:cxn ang="0">
                  <a:pos x="69" y="139"/>
                </a:cxn>
                <a:cxn ang="0">
                  <a:pos x="79" y="130"/>
                </a:cxn>
                <a:cxn ang="0">
                  <a:pos x="93" y="115"/>
                </a:cxn>
                <a:cxn ang="0">
                  <a:pos x="106" y="96"/>
                </a:cxn>
                <a:cxn ang="0">
                  <a:pos x="114" y="88"/>
                </a:cxn>
                <a:cxn ang="0">
                  <a:pos x="121" y="80"/>
                </a:cxn>
                <a:cxn ang="0">
                  <a:pos x="113" y="78"/>
                </a:cxn>
              </a:cxnLst>
              <a:rect l="0" t="0" r="r" b="b"/>
              <a:pathLst>
                <a:path w="137" h="221">
                  <a:moveTo>
                    <a:pt x="133" y="26"/>
                  </a:moveTo>
                  <a:cubicBezTo>
                    <a:pt x="129" y="23"/>
                    <a:pt x="126" y="28"/>
                    <a:pt x="122" y="29"/>
                  </a:cubicBezTo>
                  <a:cubicBezTo>
                    <a:pt x="121" y="29"/>
                    <a:pt x="119" y="28"/>
                    <a:pt x="117" y="28"/>
                  </a:cubicBezTo>
                  <a:cubicBezTo>
                    <a:pt x="116" y="28"/>
                    <a:pt x="113" y="31"/>
                    <a:pt x="112" y="31"/>
                  </a:cubicBezTo>
                  <a:cubicBezTo>
                    <a:pt x="106" y="30"/>
                    <a:pt x="109" y="24"/>
                    <a:pt x="109" y="20"/>
                  </a:cubicBezTo>
                  <a:cubicBezTo>
                    <a:pt x="109" y="15"/>
                    <a:pt x="106" y="11"/>
                    <a:pt x="102" y="7"/>
                  </a:cubicBezTo>
                  <a:cubicBezTo>
                    <a:pt x="93" y="0"/>
                    <a:pt x="94" y="18"/>
                    <a:pt x="94" y="22"/>
                  </a:cubicBezTo>
                  <a:cubicBezTo>
                    <a:pt x="94" y="25"/>
                    <a:pt x="95" y="28"/>
                    <a:pt x="95" y="31"/>
                  </a:cubicBezTo>
                  <a:cubicBezTo>
                    <a:pt x="95" y="37"/>
                    <a:pt x="94" y="43"/>
                    <a:pt x="90" y="48"/>
                  </a:cubicBezTo>
                  <a:cubicBezTo>
                    <a:pt x="92" y="56"/>
                    <a:pt x="97" y="71"/>
                    <a:pt x="107" y="69"/>
                  </a:cubicBezTo>
                  <a:cubicBezTo>
                    <a:pt x="115" y="67"/>
                    <a:pt x="126" y="57"/>
                    <a:pt x="129" y="50"/>
                  </a:cubicBezTo>
                  <a:cubicBezTo>
                    <a:pt x="132" y="45"/>
                    <a:pt x="133" y="39"/>
                    <a:pt x="137" y="34"/>
                  </a:cubicBezTo>
                  <a:cubicBezTo>
                    <a:pt x="134" y="32"/>
                    <a:pt x="132" y="29"/>
                    <a:pt x="133" y="26"/>
                  </a:cubicBezTo>
                  <a:close/>
                  <a:moveTo>
                    <a:pt x="113" y="78"/>
                  </a:moveTo>
                  <a:cubicBezTo>
                    <a:pt x="108" y="79"/>
                    <a:pt x="110" y="79"/>
                    <a:pt x="106" y="76"/>
                  </a:cubicBezTo>
                  <a:cubicBezTo>
                    <a:pt x="99" y="72"/>
                    <a:pt x="98" y="75"/>
                    <a:pt x="91" y="76"/>
                  </a:cubicBezTo>
                  <a:cubicBezTo>
                    <a:pt x="83" y="77"/>
                    <a:pt x="85" y="72"/>
                    <a:pt x="79" y="81"/>
                  </a:cubicBezTo>
                  <a:cubicBezTo>
                    <a:pt x="75" y="87"/>
                    <a:pt x="72" y="87"/>
                    <a:pt x="64" y="88"/>
                  </a:cubicBezTo>
                  <a:cubicBezTo>
                    <a:pt x="60" y="88"/>
                    <a:pt x="58" y="92"/>
                    <a:pt x="54" y="93"/>
                  </a:cubicBezTo>
                  <a:cubicBezTo>
                    <a:pt x="50" y="95"/>
                    <a:pt x="47" y="93"/>
                    <a:pt x="43" y="93"/>
                  </a:cubicBezTo>
                  <a:cubicBezTo>
                    <a:pt x="44" y="93"/>
                    <a:pt x="33" y="96"/>
                    <a:pt x="31" y="95"/>
                  </a:cubicBezTo>
                  <a:cubicBezTo>
                    <a:pt x="28" y="97"/>
                    <a:pt x="25" y="98"/>
                    <a:pt x="23" y="101"/>
                  </a:cubicBezTo>
                  <a:cubicBezTo>
                    <a:pt x="21" y="103"/>
                    <a:pt x="20" y="106"/>
                    <a:pt x="19" y="109"/>
                  </a:cubicBezTo>
                  <a:cubicBezTo>
                    <a:pt x="20" y="109"/>
                    <a:pt x="21" y="109"/>
                    <a:pt x="21" y="109"/>
                  </a:cubicBezTo>
                  <a:cubicBezTo>
                    <a:pt x="27" y="113"/>
                    <a:pt x="17" y="128"/>
                    <a:pt x="17" y="133"/>
                  </a:cubicBezTo>
                  <a:cubicBezTo>
                    <a:pt x="21" y="134"/>
                    <a:pt x="22" y="129"/>
                    <a:pt x="25" y="127"/>
                  </a:cubicBezTo>
                  <a:cubicBezTo>
                    <a:pt x="27" y="124"/>
                    <a:pt x="31" y="123"/>
                    <a:pt x="34" y="122"/>
                  </a:cubicBezTo>
                  <a:cubicBezTo>
                    <a:pt x="40" y="119"/>
                    <a:pt x="46" y="117"/>
                    <a:pt x="53" y="115"/>
                  </a:cubicBezTo>
                  <a:cubicBezTo>
                    <a:pt x="54" y="116"/>
                    <a:pt x="54" y="117"/>
                    <a:pt x="55" y="118"/>
                  </a:cubicBezTo>
                  <a:cubicBezTo>
                    <a:pt x="53" y="121"/>
                    <a:pt x="47" y="123"/>
                    <a:pt x="44" y="125"/>
                  </a:cubicBezTo>
                  <a:cubicBezTo>
                    <a:pt x="40" y="129"/>
                    <a:pt x="39" y="133"/>
                    <a:pt x="37" y="137"/>
                  </a:cubicBezTo>
                  <a:cubicBezTo>
                    <a:pt x="34" y="134"/>
                    <a:pt x="34" y="129"/>
                    <a:pt x="30" y="130"/>
                  </a:cubicBezTo>
                  <a:cubicBezTo>
                    <a:pt x="26" y="131"/>
                    <a:pt x="20" y="146"/>
                    <a:pt x="18" y="150"/>
                  </a:cubicBezTo>
                  <a:cubicBezTo>
                    <a:pt x="14" y="156"/>
                    <a:pt x="12" y="164"/>
                    <a:pt x="6" y="169"/>
                  </a:cubicBezTo>
                  <a:cubicBezTo>
                    <a:pt x="7" y="174"/>
                    <a:pt x="2" y="176"/>
                    <a:pt x="1" y="180"/>
                  </a:cubicBezTo>
                  <a:cubicBezTo>
                    <a:pt x="0" y="184"/>
                    <a:pt x="3" y="184"/>
                    <a:pt x="3" y="188"/>
                  </a:cubicBezTo>
                  <a:cubicBezTo>
                    <a:pt x="3" y="192"/>
                    <a:pt x="3" y="197"/>
                    <a:pt x="5" y="202"/>
                  </a:cubicBezTo>
                  <a:cubicBezTo>
                    <a:pt x="10" y="212"/>
                    <a:pt x="15" y="209"/>
                    <a:pt x="23" y="212"/>
                  </a:cubicBezTo>
                  <a:cubicBezTo>
                    <a:pt x="30" y="215"/>
                    <a:pt x="32" y="221"/>
                    <a:pt x="39" y="212"/>
                  </a:cubicBezTo>
                  <a:cubicBezTo>
                    <a:pt x="36" y="206"/>
                    <a:pt x="41" y="201"/>
                    <a:pt x="44" y="196"/>
                  </a:cubicBezTo>
                  <a:cubicBezTo>
                    <a:pt x="47" y="190"/>
                    <a:pt x="50" y="183"/>
                    <a:pt x="51" y="176"/>
                  </a:cubicBezTo>
                  <a:cubicBezTo>
                    <a:pt x="52" y="170"/>
                    <a:pt x="49" y="160"/>
                    <a:pt x="51" y="155"/>
                  </a:cubicBezTo>
                  <a:cubicBezTo>
                    <a:pt x="54" y="149"/>
                    <a:pt x="59" y="152"/>
                    <a:pt x="63" y="151"/>
                  </a:cubicBezTo>
                  <a:cubicBezTo>
                    <a:pt x="70" y="149"/>
                    <a:pt x="66" y="144"/>
                    <a:pt x="69" y="139"/>
                  </a:cubicBezTo>
                  <a:cubicBezTo>
                    <a:pt x="71" y="135"/>
                    <a:pt x="76" y="133"/>
                    <a:pt x="79" y="130"/>
                  </a:cubicBezTo>
                  <a:cubicBezTo>
                    <a:pt x="85" y="126"/>
                    <a:pt x="89" y="120"/>
                    <a:pt x="93" y="115"/>
                  </a:cubicBezTo>
                  <a:cubicBezTo>
                    <a:pt x="99" y="109"/>
                    <a:pt x="101" y="102"/>
                    <a:pt x="106" y="96"/>
                  </a:cubicBezTo>
                  <a:cubicBezTo>
                    <a:pt x="108" y="93"/>
                    <a:pt x="111" y="91"/>
                    <a:pt x="114" y="88"/>
                  </a:cubicBezTo>
                  <a:cubicBezTo>
                    <a:pt x="116" y="85"/>
                    <a:pt x="117" y="83"/>
                    <a:pt x="121" y="80"/>
                  </a:cubicBezTo>
                  <a:cubicBezTo>
                    <a:pt x="119" y="76"/>
                    <a:pt x="116" y="78"/>
                    <a:pt x="113" y="78"/>
                  </a:cubicBez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" name="Freeform 4020">
              <a:extLst>
                <a:ext uri="{FF2B5EF4-FFF2-40B4-BE49-F238E27FC236}">
                  <a16:creationId xmlns:a16="http://schemas.microsoft.com/office/drawing/2014/main" id="{B2ED6004-97E4-4517-A3FC-E09D0B03F8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38876" y="3978275"/>
              <a:ext cx="1625600" cy="1192213"/>
            </a:xfrm>
            <a:custGeom>
              <a:avLst/>
              <a:gdLst/>
              <a:ahLst/>
              <a:cxnLst>
                <a:cxn ang="0">
                  <a:pos x="516" y="298"/>
                </a:cxn>
                <a:cxn ang="0">
                  <a:pos x="505" y="304"/>
                </a:cxn>
                <a:cxn ang="0">
                  <a:pos x="505" y="325"/>
                </a:cxn>
                <a:cxn ang="0">
                  <a:pos x="526" y="332"/>
                </a:cxn>
                <a:cxn ang="0">
                  <a:pos x="489" y="289"/>
                </a:cxn>
                <a:cxn ang="0">
                  <a:pos x="475" y="274"/>
                </a:cxn>
                <a:cxn ang="0">
                  <a:pos x="458" y="246"/>
                </a:cxn>
                <a:cxn ang="0">
                  <a:pos x="419" y="271"/>
                </a:cxn>
                <a:cxn ang="0">
                  <a:pos x="386" y="275"/>
                </a:cxn>
                <a:cxn ang="0">
                  <a:pos x="371" y="237"/>
                </a:cxn>
                <a:cxn ang="0">
                  <a:pos x="364" y="203"/>
                </a:cxn>
                <a:cxn ang="0">
                  <a:pos x="352" y="363"/>
                </a:cxn>
                <a:cxn ang="0">
                  <a:pos x="370" y="391"/>
                </a:cxn>
                <a:cxn ang="0">
                  <a:pos x="428" y="360"/>
                </a:cxn>
                <a:cxn ang="0">
                  <a:pos x="481" y="330"/>
                </a:cxn>
                <a:cxn ang="0">
                  <a:pos x="491" y="308"/>
                </a:cxn>
                <a:cxn ang="0">
                  <a:pos x="489" y="289"/>
                </a:cxn>
                <a:cxn ang="0">
                  <a:pos x="288" y="144"/>
                </a:cxn>
                <a:cxn ang="0">
                  <a:pos x="280" y="159"/>
                </a:cxn>
                <a:cxn ang="0">
                  <a:pos x="250" y="163"/>
                </a:cxn>
                <a:cxn ang="0">
                  <a:pos x="226" y="202"/>
                </a:cxn>
                <a:cxn ang="0">
                  <a:pos x="233" y="177"/>
                </a:cxn>
                <a:cxn ang="0">
                  <a:pos x="254" y="139"/>
                </a:cxn>
                <a:cxn ang="0">
                  <a:pos x="201" y="131"/>
                </a:cxn>
                <a:cxn ang="0">
                  <a:pos x="178" y="123"/>
                </a:cxn>
                <a:cxn ang="0">
                  <a:pos x="128" y="93"/>
                </a:cxn>
                <a:cxn ang="0">
                  <a:pos x="70" y="60"/>
                </a:cxn>
                <a:cxn ang="0">
                  <a:pos x="26" y="17"/>
                </a:cxn>
                <a:cxn ang="0">
                  <a:pos x="0" y="3"/>
                </a:cxn>
                <a:cxn ang="0">
                  <a:pos x="16" y="25"/>
                </a:cxn>
                <a:cxn ang="0">
                  <a:pos x="25" y="54"/>
                </a:cxn>
                <a:cxn ang="0">
                  <a:pos x="74" y="91"/>
                </a:cxn>
                <a:cxn ang="0">
                  <a:pos x="104" y="157"/>
                </a:cxn>
                <a:cxn ang="0">
                  <a:pos x="97" y="211"/>
                </a:cxn>
                <a:cxn ang="0">
                  <a:pos x="86" y="215"/>
                </a:cxn>
                <a:cxn ang="0">
                  <a:pos x="58" y="223"/>
                </a:cxn>
                <a:cxn ang="0">
                  <a:pos x="50" y="235"/>
                </a:cxn>
                <a:cxn ang="0">
                  <a:pos x="51" y="254"/>
                </a:cxn>
                <a:cxn ang="0">
                  <a:pos x="88" y="286"/>
                </a:cxn>
                <a:cxn ang="0">
                  <a:pos x="98" y="293"/>
                </a:cxn>
                <a:cxn ang="0">
                  <a:pos x="168" y="317"/>
                </a:cxn>
                <a:cxn ang="0">
                  <a:pos x="166" y="283"/>
                </a:cxn>
                <a:cxn ang="0">
                  <a:pos x="335" y="223"/>
                </a:cxn>
                <a:cxn ang="0">
                  <a:pos x="305" y="145"/>
                </a:cxn>
              </a:cxnLst>
              <a:rect l="0" t="0" r="r" b="b"/>
              <a:pathLst>
                <a:path w="547" h="401">
                  <a:moveTo>
                    <a:pt x="532" y="284"/>
                  </a:moveTo>
                  <a:cubicBezTo>
                    <a:pt x="523" y="283"/>
                    <a:pt x="524" y="295"/>
                    <a:pt x="516" y="298"/>
                  </a:cubicBezTo>
                  <a:cubicBezTo>
                    <a:pt x="523" y="295"/>
                    <a:pt x="510" y="276"/>
                    <a:pt x="504" y="275"/>
                  </a:cubicBezTo>
                  <a:cubicBezTo>
                    <a:pt x="500" y="274"/>
                    <a:pt x="504" y="303"/>
                    <a:pt x="505" y="304"/>
                  </a:cubicBezTo>
                  <a:cubicBezTo>
                    <a:pt x="504" y="301"/>
                    <a:pt x="495" y="304"/>
                    <a:pt x="496" y="310"/>
                  </a:cubicBezTo>
                  <a:cubicBezTo>
                    <a:pt x="496" y="313"/>
                    <a:pt x="504" y="321"/>
                    <a:pt x="505" y="325"/>
                  </a:cubicBezTo>
                  <a:cubicBezTo>
                    <a:pt x="507" y="329"/>
                    <a:pt x="506" y="342"/>
                    <a:pt x="514" y="337"/>
                  </a:cubicBezTo>
                  <a:cubicBezTo>
                    <a:pt x="514" y="336"/>
                    <a:pt x="525" y="310"/>
                    <a:pt x="526" y="332"/>
                  </a:cubicBezTo>
                  <a:cubicBezTo>
                    <a:pt x="547" y="340"/>
                    <a:pt x="533" y="293"/>
                    <a:pt x="532" y="284"/>
                  </a:cubicBezTo>
                  <a:close/>
                  <a:moveTo>
                    <a:pt x="489" y="289"/>
                  </a:moveTo>
                  <a:cubicBezTo>
                    <a:pt x="489" y="280"/>
                    <a:pt x="501" y="266"/>
                    <a:pt x="495" y="259"/>
                  </a:cubicBezTo>
                  <a:cubicBezTo>
                    <a:pt x="488" y="263"/>
                    <a:pt x="484" y="270"/>
                    <a:pt x="475" y="274"/>
                  </a:cubicBezTo>
                  <a:cubicBezTo>
                    <a:pt x="474" y="269"/>
                    <a:pt x="472" y="269"/>
                    <a:pt x="469" y="266"/>
                  </a:cubicBezTo>
                  <a:cubicBezTo>
                    <a:pt x="470" y="256"/>
                    <a:pt x="467" y="248"/>
                    <a:pt x="458" y="246"/>
                  </a:cubicBezTo>
                  <a:cubicBezTo>
                    <a:pt x="447" y="244"/>
                    <a:pt x="444" y="253"/>
                    <a:pt x="438" y="259"/>
                  </a:cubicBezTo>
                  <a:cubicBezTo>
                    <a:pt x="432" y="266"/>
                    <a:pt x="426" y="268"/>
                    <a:pt x="419" y="271"/>
                  </a:cubicBezTo>
                  <a:cubicBezTo>
                    <a:pt x="402" y="279"/>
                    <a:pt x="413" y="267"/>
                    <a:pt x="402" y="262"/>
                  </a:cubicBezTo>
                  <a:cubicBezTo>
                    <a:pt x="393" y="258"/>
                    <a:pt x="392" y="271"/>
                    <a:pt x="386" y="275"/>
                  </a:cubicBezTo>
                  <a:cubicBezTo>
                    <a:pt x="379" y="278"/>
                    <a:pt x="382" y="279"/>
                    <a:pt x="378" y="272"/>
                  </a:cubicBezTo>
                  <a:cubicBezTo>
                    <a:pt x="372" y="264"/>
                    <a:pt x="372" y="247"/>
                    <a:pt x="371" y="237"/>
                  </a:cubicBezTo>
                  <a:cubicBezTo>
                    <a:pt x="370" y="230"/>
                    <a:pt x="376" y="199"/>
                    <a:pt x="363" y="205"/>
                  </a:cubicBezTo>
                  <a:cubicBezTo>
                    <a:pt x="364" y="203"/>
                    <a:pt x="364" y="203"/>
                    <a:pt x="364" y="203"/>
                  </a:cubicBezTo>
                  <a:cubicBezTo>
                    <a:pt x="334" y="236"/>
                    <a:pt x="358" y="297"/>
                    <a:pt x="365" y="335"/>
                  </a:cubicBezTo>
                  <a:cubicBezTo>
                    <a:pt x="368" y="353"/>
                    <a:pt x="354" y="349"/>
                    <a:pt x="352" y="363"/>
                  </a:cubicBezTo>
                  <a:cubicBezTo>
                    <a:pt x="358" y="361"/>
                    <a:pt x="363" y="356"/>
                    <a:pt x="371" y="357"/>
                  </a:cubicBezTo>
                  <a:cubicBezTo>
                    <a:pt x="371" y="366"/>
                    <a:pt x="364" y="385"/>
                    <a:pt x="370" y="391"/>
                  </a:cubicBezTo>
                  <a:cubicBezTo>
                    <a:pt x="381" y="401"/>
                    <a:pt x="392" y="384"/>
                    <a:pt x="398" y="378"/>
                  </a:cubicBezTo>
                  <a:cubicBezTo>
                    <a:pt x="407" y="367"/>
                    <a:pt x="417" y="368"/>
                    <a:pt x="428" y="360"/>
                  </a:cubicBezTo>
                  <a:cubicBezTo>
                    <a:pt x="438" y="353"/>
                    <a:pt x="440" y="348"/>
                    <a:pt x="452" y="343"/>
                  </a:cubicBezTo>
                  <a:cubicBezTo>
                    <a:pt x="462" y="339"/>
                    <a:pt x="469" y="330"/>
                    <a:pt x="481" y="330"/>
                  </a:cubicBezTo>
                  <a:cubicBezTo>
                    <a:pt x="474" y="337"/>
                    <a:pt x="468" y="368"/>
                    <a:pt x="482" y="359"/>
                  </a:cubicBezTo>
                  <a:cubicBezTo>
                    <a:pt x="491" y="352"/>
                    <a:pt x="489" y="318"/>
                    <a:pt x="491" y="308"/>
                  </a:cubicBezTo>
                  <a:cubicBezTo>
                    <a:pt x="492" y="303"/>
                    <a:pt x="496" y="302"/>
                    <a:pt x="495" y="297"/>
                  </a:cubicBezTo>
                  <a:cubicBezTo>
                    <a:pt x="495" y="294"/>
                    <a:pt x="489" y="289"/>
                    <a:pt x="489" y="289"/>
                  </a:cubicBezTo>
                  <a:close/>
                  <a:moveTo>
                    <a:pt x="305" y="145"/>
                  </a:moveTo>
                  <a:cubicBezTo>
                    <a:pt x="301" y="144"/>
                    <a:pt x="292" y="142"/>
                    <a:pt x="288" y="144"/>
                  </a:cubicBezTo>
                  <a:cubicBezTo>
                    <a:pt x="284" y="148"/>
                    <a:pt x="287" y="155"/>
                    <a:pt x="285" y="157"/>
                  </a:cubicBezTo>
                  <a:cubicBezTo>
                    <a:pt x="284" y="157"/>
                    <a:pt x="281" y="159"/>
                    <a:pt x="280" y="159"/>
                  </a:cubicBezTo>
                  <a:cubicBezTo>
                    <a:pt x="277" y="152"/>
                    <a:pt x="272" y="142"/>
                    <a:pt x="263" y="142"/>
                  </a:cubicBezTo>
                  <a:cubicBezTo>
                    <a:pt x="251" y="143"/>
                    <a:pt x="254" y="155"/>
                    <a:pt x="250" y="163"/>
                  </a:cubicBezTo>
                  <a:cubicBezTo>
                    <a:pt x="248" y="170"/>
                    <a:pt x="245" y="179"/>
                    <a:pt x="241" y="186"/>
                  </a:cubicBezTo>
                  <a:cubicBezTo>
                    <a:pt x="238" y="193"/>
                    <a:pt x="230" y="196"/>
                    <a:pt x="226" y="202"/>
                  </a:cubicBezTo>
                  <a:cubicBezTo>
                    <a:pt x="225" y="202"/>
                    <a:pt x="224" y="202"/>
                    <a:pt x="224" y="202"/>
                  </a:cubicBezTo>
                  <a:cubicBezTo>
                    <a:pt x="224" y="191"/>
                    <a:pt x="228" y="186"/>
                    <a:pt x="233" y="177"/>
                  </a:cubicBezTo>
                  <a:cubicBezTo>
                    <a:pt x="237" y="171"/>
                    <a:pt x="238" y="165"/>
                    <a:pt x="241" y="158"/>
                  </a:cubicBezTo>
                  <a:cubicBezTo>
                    <a:pt x="243" y="151"/>
                    <a:pt x="251" y="146"/>
                    <a:pt x="254" y="139"/>
                  </a:cubicBezTo>
                  <a:cubicBezTo>
                    <a:pt x="260" y="121"/>
                    <a:pt x="234" y="120"/>
                    <a:pt x="229" y="136"/>
                  </a:cubicBezTo>
                  <a:cubicBezTo>
                    <a:pt x="222" y="130"/>
                    <a:pt x="209" y="130"/>
                    <a:pt x="201" y="131"/>
                  </a:cubicBezTo>
                  <a:cubicBezTo>
                    <a:pt x="197" y="132"/>
                    <a:pt x="179" y="144"/>
                    <a:pt x="179" y="135"/>
                  </a:cubicBezTo>
                  <a:cubicBezTo>
                    <a:pt x="179" y="131"/>
                    <a:pt x="178" y="127"/>
                    <a:pt x="178" y="123"/>
                  </a:cubicBezTo>
                  <a:cubicBezTo>
                    <a:pt x="156" y="122"/>
                    <a:pt x="139" y="122"/>
                    <a:pt x="125" y="102"/>
                  </a:cubicBezTo>
                  <a:cubicBezTo>
                    <a:pt x="127" y="99"/>
                    <a:pt x="126" y="96"/>
                    <a:pt x="128" y="93"/>
                  </a:cubicBezTo>
                  <a:cubicBezTo>
                    <a:pt x="123" y="85"/>
                    <a:pt x="110" y="83"/>
                    <a:pt x="103" y="78"/>
                  </a:cubicBezTo>
                  <a:cubicBezTo>
                    <a:pt x="126" y="67"/>
                    <a:pt x="67" y="52"/>
                    <a:pt x="70" y="60"/>
                  </a:cubicBezTo>
                  <a:cubicBezTo>
                    <a:pt x="67" y="51"/>
                    <a:pt x="55" y="37"/>
                    <a:pt x="44" y="38"/>
                  </a:cubicBezTo>
                  <a:cubicBezTo>
                    <a:pt x="42" y="38"/>
                    <a:pt x="29" y="19"/>
                    <a:pt x="26" y="17"/>
                  </a:cubicBezTo>
                  <a:cubicBezTo>
                    <a:pt x="19" y="11"/>
                    <a:pt x="7" y="7"/>
                    <a:pt x="1" y="0"/>
                  </a:cubicBezTo>
                  <a:cubicBezTo>
                    <a:pt x="1" y="1"/>
                    <a:pt x="1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" y="13"/>
                    <a:pt x="6" y="22"/>
                    <a:pt x="16" y="25"/>
                  </a:cubicBezTo>
                  <a:cubicBezTo>
                    <a:pt x="15" y="28"/>
                    <a:pt x="16" y="33"/>
                    <a:pt x="15" y="37"/>
                  </a:cubicBezTo>
                  <a:cubicBezTo>
                    <a:pt x="29" y="35"/>
                    <a:pt x="32" y="44"/>
                    <a:pt x="25" y="54"/>
                  </a:cubicBezTo>
                  <a:cubicBezTo>
                    <a:pt x="32" y="58"/>
                    <a:pt x="37" y="60"/>
                    <a:pt x="45" y="57"/>
                  </a:cubicBezTo>
                  <a:cubicBezTo>
                    <a:pt x="61" y="75"/>
                    <a:pt x="32" y="93"/>
                    <a:pt x="74" y="91"/>
                  </a:cubicBezTo>
                  <a:cubicBezTo>
                    <a:pt x="75" y="93"/>
                    <a:pt x="76" y="97"/>
                    <a:pt x="76" y="99"/>
                  </a:cubicBezTo>
                  <a:cubicBezTo>
                    <a:pt x="80" y="130"/>
                    <a:pt x="85" y="138"/>
                    <a:pt x="104" y="157"/>
                  </a:cubicBezTo>
                  <a:cubicBezTo>
                    <a:pt x="111" y="164"/>
                    <a:pt x="121" y="175"/>
                    <a:pt x="120" y="187"/>
                  </a:cubicBezTo>
                  <a:cubicBezTo>
                    <a:pt x="119" y="206"/>
                    <a:pt x="112" y="200"/>
                    <a:pt x="97" y="211"/>
                  </a:cubicBezTo>
                  <a:cubicBezTo>
                    <a:pt x="95" y="209"/>
                    <a:pt x="96" y="207"/>
                    <a:pt x="94" y="205"/>
                  </a:cubicBezTo>
                  <a:cubicBezTo>
                    <a:pt x="92" y="208"/>
                    <a:pt x="88" y="211"/>
                    <a:pt x="86" y="215"/>
                  </a:cubicBezTo>
                  <a:cubicBezTo>
                    <a:pt x="74" y="212"/>
                    <a:pt x="63" y="208"/>
                    <a:pt x="49" y="209"/>
                  </a:cubicBezTo>
                  <a:cubicBezTo>
                    <a:pt x="52" y="212"/>
                    <a:pt x="56" y="220"/>
                    <a:pt x="58" y="223"/>
                  </a:cubicBezTo>
                  <a:cubicBezTo>
                    <a:pt x="52" y="223"/>
                    <a:pt x="46" y="226"/>
                    <a:pt x="39" y="227"/>
                  </a:cubicBezTo>
                  <a:cubicBezTo>
                    <a:pt x="44" y="229"/>
                    <a:pt x="46" y="233"/>
                    <a:pt x="50" y="235"/>
                  </a:cubicBezTo>
                  <a:cubicBezTo>
                    <a:pt x="47" y="239"/>
                    <a:pt x="47" y="246"/>
                    <a:pt x="44" y="249"/>
                  </a:cubicBezTo>
                  <a:cubicBezTo>
                    <a:pt x="47" y="252"/>
                    <a:pt x="47" y="253"/>
                    <a:pt x="51" y="254"/>
                  </a:cubicBezTo>
                  <a:cubicBezTo>
                    <a:pt x="50" y="258"/>
                    <a:pt x="51" y="263"/>
                    <a:pt x="51" y="267"/>
                  </a:cubicBezTo>
                  <a:cubicBezTo>
                    <a:pt x="64" y="275"/>
                    <a:pt x="83" y="269"/>
                    <a:pt x="88" y="286"/>
                  </a:cubicBezTo>
                  <a:cubicBezTo>
                    <a:pt x="79" y="291"/>
                    <a:pt x="72" y="298"/>
                    <a:pt x="79" y="307"/>
                  </a:cubicBezTo>
                  <a:cubicBezTo>
                    <a:pt x="87" y="306"/>
                    <a:pt x="94" y="298"/>
                    <a:pt x="98" y="293"/>
                  </a:cubicBezTo>
                  <a:cubicBezTo>
                    <a:pt x="99" y="303"/>
                    <a:pt x="106" y="310"/>
                    <a:pt x="113" y="317"/>
                  </a:cubicBezTo>
                  <a:cubicBezTo>
                    <a:pt x="130" y="310"/>
                    <a:pt x="147" y="329"/>
                    <a:pt x="168" y="317"/>
                  </a:cubicBezTo>
                  <a:cubicBezTo>
                    <a:pt x="163" y="309"/>
                    <a:pt x="158" y="298"/>
                    <a:pt x="155" y="287"/>
                  </a:cubicBezTo>
                  <a:cubicBezTo>
                    <a:pt x="158" y="286"/>
                    <a:pt x="163" y="284"/>
                    <a:pt x="166" y="283"/>
                  </a:cubicBezTo>
                  <a:cubicBezTo>
                    <a:pt x="178" y="305"/>
                    <a:pt x="231" y="269"/>
                    <a:pt x="243" y="262"/>
                  </a:cubicBezTo>
                  <a:cubicBezTo>
                    <a:pt x="256" y="255"/>
                    <a:pt x="321" y="200"/>
                    <a:pt x="335" y="223"/>
                  </a:cubicBezTo>
                  <a:cubicBezTo>
                    <a:pt x="344" y="212"/>
                    <a:pt x="350" y="202"/>
                    <a:pt x="350" y="184"/>
                  </a:cubicBezTo>
                  <a:cubicBezTo>
                    <a:pt x="340" y="172"/>
                    <a:pt x="320" y="149"/>
                    <a:pt x="305" y="145"/>
                  </a:cubicBez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" name="Freeform 4021">
              <a:extLst>
                <a:ext uri="{FF2B5EF4-FFF2-40B4-BE49-F238E27FC236}">
                  <a16:creationId xmlns:a16="http://schemas.microsoft.com/office/drawing/2014/main" id="{0F8EF30E-1938-4669-B5C3-3DAC0FC7585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29451" y="5384800"/>
              <a:ext cx="198438" cy="96838"/>
            </a:xfrm>
            <a:custGeom>
              <a:avLst/>
              <a:gdLst/>
              <a:ahLst/>
              <a:cxnLst>
                <a:cxn ang="0">
                  <a:pos x="50" y="12"/>
                </a:cxn>
                <a:cxn ang="0">
                  <a:pos x="67" y="2"/>
                </a:cxn>
                <a:cxn ang="0">
                  <a:pos x="62" y="12"/>
                </a:cxn>
                <a:cxn ang="0">
                  <a:pos x="63" y="22"/>
                </a:cxn>
                <a:cxn ang="0">
                  <a:pos x="61" y="30"/>
                </a:cxn>
                <a:cxn ang="0">
                  <a:pos x="49" y="30"/>
                </a:cxn>
                <a:cxn ang="0">
                  <a:pos x="44" y="26"/>
                </a:cxn>
                <a:cxn ang="0">
                  <a:pos x="41" y="31"/>
                </a:cxn>
                <a:cxn ang="0">
                  <a:pos x="28" y="33"/>
                </a:cxn>
                <a:cxn ang="0">
                  <a:pos x="19" y="31"/>
                </a:cxn>
                <a:cxn ang="0">
                  <a:pos x="14" y="32"/>
                </a:cxn>
                <a:cxn ang="0">
                  <a:pos x="10" y="29"/>
                </a:cxn>
                <a:cxn ang="0">
                  <a:pos x="1" y="25"/>
                </a:cxn>
                <a:cxn ang="0">
                  <a:pos x="3" y="14"/>
                </a:cxn>
                <a:cxn ang="0">
                  <a:pos x="10" y="20"/>
                </a:cxn>
                <a:cxn ang="0">
                  <a:pos x="18" y="24"/>
                </a:cxn>
                <a:cxn ang="0">
                  <a:pos x="23" y="21"/>
                </a:cxn>
                <a:cxn ang="0">
                  <a:pos x="29" y="21"/>
                </a:cxn>
                <a:cxn ang="0">
                  <a:pos x="40" y="16"/>
                </a:cxn>
                <a:cxn ang="0">
                  <a:pos x="50" y="12"/>
                </a:cxn>
              </a:cxnLst>
              <a:rect l="0" t="0" r="r" b="b"/>
              <a:pathLst>
                <a:path w="67" h="33">
                  <a:moveTo>
                    <a:pt x="50" y="12"/>
                  </a:moveTo>
                  <a:cubicBezTo>
                    <a:pt x="54" y="9"/>
                    <a:pt x="61" y="0"/>
                    <a:pt x="67" y="2"/>
                  </a:cubicBezTo>
                  <a:cubicBezTo>
                    <a:pt x="66" y="6"/>
                    <a:pt x="63" y="8"/>
                    <a:pt x="62" y="12"/>
                  </a:cubicBezTo>
                  <a:cubicBezTo>
                    <a:pt x="60" y="17"/>
                    <a:pt x="61" y="18"/>
                    <a:pt x="63" y="22"/>
                  </a:cubicBezTo>
                  <a:cubicBezTo>
                    <a:pt x="64" y="25"/>
                    <a:pt x="67" y="27"/>
                    <a:pt x="61" y="30"/>
                  </a:cubicBezTo>
                  <a:cubicBezTo>
                    <a:pt x="58" y="31"/>
                    <a:pt x="52" y="31"/>
                    <a:pt x="49" y="30"/>
                  </a:cubicBezTo>
                  <a:cubicBezTo>
                    <a:pt x="49" y="27"/>
                    <a:pt x="47" y="25"/>
                    <a:pt x="44" y="26"/>
                  </a:cubicBezTo>
                  <a:cubicBezTo>
                    <a:pt x="41" y="27"/>
                    <a:pt x="43" y="30"/>
                    <a:pt x="41" y="31"/>
                  </a:cubicBezTo>
                  <a:cubicBezTo>
                    <a:pt x="38" y="33"/>
                    <a:pt x="31" y="33"/>
                    <a:pt x="28" y="33"/>
                  </a:cubicBezTo>
                  <a:cubicBezTo>
                    <a:pt x="23" y="33"/>
                    <a:pt x="22" y="31"/>
                    <a:pt x="19" y="31"/>
                  </a:cubicBezTo>
                  <a:cubicBezTo>
                    <a:pt x="18" y="30"/>
                    <a:pt x="16" y="33"/>
                    <a:pt x="14" y="32"/>
                  </a:cubicBezTo>
                  <a:cubicBezTo>
                    <a:pt x="12" y="32"/>
                    <a:pt x="11" y="30"/>
                    <a:pt x="10" y="29"/>
                  </a:cubicBezTo>
                  <a:cubicBezTo>
                    <a:pt x="8" y="28"/>
                    <a:pt x="3" y="27"/>
                    <a:pt x="1" y="25"/>
                  </a:cubicBezTo>
                  <a:cubicBezTo>
                    <a:pt x="0" y="22"/>
                    <a:pt x="3" y="17"/>
                    <a:pt x="3" y="14"/>
                  </a:cubicBezTo>
                  <a:cubicBezTo>
                    <a:pt x="3" y="7"/>
                    <a:pt x="9" y="19"/>
                    <a:pt x="10" y="20"/>
                  </a:cubicBezTo>
                  <a:cubicBezTo>
                    <a:pt x="12" y="22"/>
                    <a:pt x="16" y="21"/>
                    <a:pt x="18" y="24"/>
                  </a:cubicBezTo>
                  <a:cubicBezTo>
                    <a:pt x="20" y="24"/>
                    <a:pt x="21" y="22"/>
                    <a:pt x="23" y="21"/>
                  </a:cubicBezTo>
                  <a:cubicBezTo>
                    <a:pt x="24" y="21"/>
                    <a:pt x="27" y="21"/>
                    <a:pt x="29" y="21"/>
                  </a:cubicBezTo>
                  <a:cubicBezTo>
                    <a:pt x="33" y="20"/>
                    <a:pt x="37" y="18"/>
                    <a:pt x="40" y="16"/>
                  </a:cubicBezTo>
                  <a:cubicBezTo>
                    <a:pt x="43" y="14"/>
                    <a:pt x="47" y="14"/>
                    <a:pt x="50" y="12"/>
                  </a:cubicBez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0" name="Freeform 4022">
              <a:extLst>
                <a:ext uri="{FF2B5EF4-FFF2-40B4-BE49-F238E27FC236}">
                  <a16:creationId xmlns:a16="http://schemas.microsoft.com/office/drawing/2014/main" id="{B7679AFD-35C7-4710-8CBB-7C55217850CF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0513" y="5337175"/>
              <a:ext cx="495300" cy="433388"/>
            </a:xfrm>
            <a:custGeom>
              <a:avLst/>
              <a:gdLst/>
              <a:ahLst/>
              <a:cxnLst>
                <a:cxn ang="0">
                  <a:pos x="147" y="58"/>
                </a:cxn>
                <a:cxn ang="0">
                  <a:pos x="159" y="62"/>
                </a:cxn>
                <a:cxn ang="0">
                  <a:pos x="159" y="63"/>
                </a:cxn>
                <a:cxn ang="0">
                  <a:pos x="151" y="69"/>
                </a:cxn>
                <a:cxn ang="0">
                  <a:pos x="147" y="77"/>
                </a:cxn>
                <a:cxn ang="0">
                  <a:pos x="143" y="85"/>
                </a:cxn>
                <a:cxn ang="0">
                  <a:pos x="136" y="96"/>
                </a:cxn>
                <a:cxn ang="0">
                  <a:pos x="119" y="121"/>
                </a:cxn>
                <a:cxn ang="0">
                  <a:pos x="111" y="128"/>
                </a:cxn>
                <a:cxn ang="0">
                  <a:pos x="104" y="135"/>
                </a:cxn>
                <a:cxn ang="0">
                  <a:pos x="75" y="141"/>
                </a:cxn>
                <a:cxn ang="0">
                  <a:pos x="69" y="131"/>
                </a:cxn>
                <a:cxn ang="0">
                  <a:pos x="57" y="126"/>
                </a:cxn>
                <a:cxn ang="0">
                  <a:pos x="49" y="108"/>
                </a:cxn>
                <a:cxn ang="0">
                  <a:pos x="18" y="68"/>
                </a:cxn>
                <a:cxn ang="0">
                  <a:pos x="3" y="80"/>
                </a:cxn>
                <a:cxn ang="0">
                  <a:pos x="0" y="79"/>
                </a:cxn>
                <a:cxn ang="0">
                  <a:pos x="4" y="68"/>
                </a:cxn>
                <a:cxn ang="0">
                  <a:pos x="4" y="44"/>
                </a:cxn>
                <a:cxn ang="0">
                  <a:pos x="16" y="35"/>
                </a:cxn>
                <a:cxn ang="0">
                  <a:pos x="32" y="32"/>
                </a:cxn>
                <a:cxn ang="0">
                  <a:pos x="43" y="22"/>
                </a:cxn>
                <a:cxn ang="0">
                  <a:pos x="56" y="15"/>
                </a:cxn>
                <a:cxn ang="0">
                  <a:pos x="59" y="15"/>
                </a:cxn>
                <a:cxn ang="0">
                  <a:pos x="56" y="20"/>
                </a:cxn>
                <a:cxn ang="0">
                  <a:pos x="64" y="16"/>
                </a:cxn>
                <a:cxn ang="0">
                  <a:pos x="64" y="16"/>
                </a:cxn>
                <a:cxn ang="0">
                  <a:pos x="70" y="16"/>
                </a:cxn>
                <a:cxn ang="0">
                  <a:pos x="72" y="15"/>
                </a:cxn>
                <a:cxn ang="0">
                  <a:pos x="86" y="24"/>
                </a:cxn>
                <a:cxn ang="0">
                  <a:pos x="105" y="18"/>
                </a:cxn>
                <a:cxn ang="0">
                  <a:pos x="114" y="36"/>
                </a:cxn>
                <a:cxn ang="0">
                  <a:pos x="133" y="57"/>
                </a:cxn>
                <a:cxn ang="0">
                  <a:pos x="147" y="58"/>
                </a:cxn>
              </a:cxnLst>
              <a:rect l="0" t="0" r="r" b="b"/>
              <a:pathLst>
                <a:path w="167" h="146">
                  <a:moveTo>
                    <a:pt x="147" y="58"/>
                  </a:moveTo>
                  <a:cubicBezTo>
                    <a:pt x="153" y="55"/>
                    <a:pt x="167" y="50"/>
                    <a:pt x="159" y="62"/>
                  </a:cubicBezTo>
                  <a:cubicBezTo>
                    <a:pt x="159" y="62"/>
                    <a:pt x="159" y="63"/>
                    <a:pt x="159" y="63"/>
                  </a:cubicBezTo>
                  <a:cubicBezTo>
                    <a:pt x="156" y="65"/>
                    <a:pt x="153" y="66"/>
                    <a:pt x="151" y="69"/>
                  </a:cubicBezTo>
                  <a:cubicBezTo>
                    <a:pt x="149" y="71"/>
                    <a:pt x="148" y="74"/>
                    <a:pt x="147" y="77"/>
                  </a:cubicBezTo>
                  <a:cubicBezTo>
                    <a:pt x="144" y="77"/>
                    <a:pt x="144" y="83"/>
                    <a:pt x="143" y="85"/>
                  </a:cubicBezTo>
                  <a:cubicBezTo>
                    <a:pt x="142" y="89"/>
                    <a:pt x="139" y="93"/>
                    <a:pt x="136" y="96"/>
                  </a:cubicBezTo>
                  <a:cubicBezTo>
                    <a:pt x="130" y="103"/>
                    <a:pt x="127" y="116"/>
                    <a:pt x="119" y="121"/>
                  </a:cubicBezTo>
                  <a:cubicBezTo>
                    <a:pt x="115" y="124"/>
                    <a:pt x="114" y="123"/>
                    <a:pt x="111" y="128"/>
                  </a:cubicBezTo>
                  <a:cubicBezTo>
                    <a:pt x="109" y="133"/>
                    <a:pt x="109" y="132"/>
                    <a:pt x="104" y="135"/>
                  </a:cubicBezTo>
                  <a:cubicBezTo>
                    <a:pt x="99" y="138"/>
                    <a:pt x="80" y="146"/>
                    <a:pt x="75" y="141"/>
                  </a:cubicBezTo>
                  <a:cubicBezTo>
                    <a:pt x="72" y="138"/>
                    <a:pt x="72" y="134"/>
                    <a:pt x="69" y="131"/>
                  </a:cubicBezTo>
                  <a:cubicBezTo>
                    <a:pt x="65" y="128"/>
                    <a:pt x="60" y="130"/>
                    <a:pt x="57" y="126"/>
                  </a:cubicBezTo>
                  <a:cubicBezTo>
                    <a:pt x="52" y="121"/>
                    <a:pt x="51" y="114"/>
                    <a:pt x="49" y="108"/>
                  </a:cubicBezTo>
                  <a:cubicBezTo>
                    <a:pt x="47" y="95"/>
                    <a:pt x="38" y="61"/>
                    <a:pt x="18" y="68"/>
                  </a:cubicBezTo>
                  <a:cubicBezTo>
                    <a:pt x="12" y="70"/>
                    <a:pt x="6" y="76"/>
                    <a:pt x="3" y="80"/>
                  </a:cubicBezTo>
                  <a:cubicBezTo>
                    <a:pt x="4" y="80"/>
                    <a:pt x="2" y="79"/>
                    <a:pt x="0" y="79"/>
                  </a:cubicBezTo>
                  <a:cubicBezTo>
                    <a:pt x="1" y="76"/>
                    <a:pt x="3" y="72"/>
                    <a:pt x="4" y="68"/>
                  </a:cubicBezTo>
                  <a:cubicBezTo>
                    <a:pt x="8" y="60"/>
                    <a:pt x="5" y="53"/>
                    <a:pt x="4" y="44"/>
                  </a:cubicBezTo>
                  <a:cubicBezTo>
                    <a:pt x="8" y="41"/>
                    <a:pt x="12" y="37"/>
                    <a:pt x="16" y="35"/>
                  </a:cubicBezTo>
                  <a:cubicBezTo>
                    <a:pt x="21" y="32"/>
                    <a:pt x="27" y="33"/>
                    <a:pt x="32" y="32"/>
                  </a:cubicBezTo>
                  <a:cubicBezTo>
                    <a:pt x="37" y="30"/>
                    <a:pt x="38" y="25"/>
                    <a:pt x="43" y="22"/>
                  </a:cubicBezTo>
                  <a:cubicBezTo>
                    <a:pt x="45" y="20"/>
                    <a:pt x="53" y="16"/>
                    <a:pt x="56" y="15"/>
                  </a:cubicBezTo>
                  <a:cubicBezTo>
                    <a:pt x="57" y="15"/>
                    <a:pt x="58" y="15"/>
                    <a:pt x="59" y="15"/>
                  </a:cubicBezTo>
                  <a:cubicBezTo>
                    <a:pt x="58" y="16"/>
                    <a:pt x="57" y="18"/>
                    <a:pt x="56" y="20"/>
                  </a:cubicBezTo>
                  <a:cubicBezTo>
                    <a:pt x="59" y="19"/>
                    <a:pt x="61" y="17"/>
                    <a:pt x="64" y="16"/>
                  </a:cubicBezTo>
                  <a:cubicBezTo>
                    <a:pt x="64" y="16"/>
                    <a:pt x="64" y="16"/>
                    <a:pt x="64" y="16"/>
                  </a:cubicBezTo>
                  <a:cubicBezTo>
                    <a:pt x="66" y="16"/>
                    <a:pt x="68" y="16"/>
                    <a:pt x="70" y="16"/>
                  </a:cubicBezTo>
                  <a:cubicBezTo>
                    <a:pt x="71" y="16"/>
                    <a:pt x="72" y="15"/>
                    <a:pt x="72" y="15"/>
                  </a:cubicBezTo>
                  <a:cubicBezTo>
                    <a:pt x="79" y="17"/>
                    <a:pt x="79" y="26"/>
                    <a:pt x="86" y="24"/>
                  </a:cubicBezTo>
                  <a:cubicBezTo>
                    <a:pt x="88" y="13"/>
                    <a:pt x="102" y="0"/>
                    <a:pt x="105" y="18"/>
                  </a:cubicBezTo>
                  <a:cubicBezTo>
                    <a:pt x="106" y="27"/>
                    <a:pt x="98" y="40"/>
                    <a:pt x="114" y="36"/>
                  </a:cubicBezTo>
                  <a:cubicBezTo>
                    <a:pt x="115" y="44"/>
                    <a:pt x="126" y="54"/>
                    <a:pt x="133" y="57"/>
                  </a:cubicBezTo>
                  <a:cubicBezTo>
                    <a:pt x="138" y="60"/>
                    <a:pt x="141" y="61"/>
                    <a:pt x="147" y="58"/>
                  </a:cubicBez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1" name="Freeform 4023">
              <a:extLst>
                <a:ext uri="{FF2B5EF4-FFF2-40B4-BE49-F238E27FC236}">
                  <a16:creationId xmlns:a16="http://schemas.microsoft.com/office/drawing/2014/main" id="{60A458B0-50E3-4B6F-A42E-15C78A56B0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38776" y="3975100"/>
              <a:ext cx="1795463" cy="2024063"/>
            </a:xfrm>
            <a:custGeom>
              <a:avLst/>
              <a:gdLst/>
              <a:ahLst/>
              <a:cxnLst>
                <a:cxn ang="0">
                  <a:pos x="435" y="284"/>
                </a:cxn>
                <a:cxn ang="0">
                  <a:pos x="437" y="318"/>
                </a:cxn>
                <a:cxn ang="0">
                  <a:pos x="367" y="294"/>
                </a:cxn>
                <a:cxn ang="0">
                  <a:pos x="357" y="287"/>
                </a:cxn>
                <a:cxn ang="0">
                  <a:pos x="320" y="255"/>
                </a:cxn>
                <a:cxn ang="0">
                  <a:pos x="319" y="236"/>
                </a:cxn>
                <a:cxn ang="0">
                  <a:pos x="327" y="224"/>
                </a:cxn>
                <a:cxn ang="0">
                  <a:pos x="355" y="216"/>
                </a:cxn>
                <a:cxn ang="0">
                  <a:pos x="366" y="212"/>
                </a:cxn>
                <a:cxn ang="0">
                  <a:pos x="373" y="158"/>
                </a:cxn>
                <a:cxn ang="0">
                  <a:pos x="343" y="92"/>
                </a:cxn>
                <a:cxn ang="0">
                  <a:pos x="294" y="55"/>
                </a:cxn>
                <a:cxn ang="0">
                  <a:pos x="285" y="26"/>
                </a:cxn>
                <a:cxn ang="0">
                  <a:pos x="270" y="43"/>
                </a:cxn>
                <a:cxn ang="0">
                  <a:pos x="203" y="117"/>
                </a:cxn>
                <a:cxn ang="0">
                  <a:pos x="182" y="45"/>
                </a:cxn>
                <a:cxn ang="0">
                  <a:pos x="120" y="20"/>
                </a:cxn>
                <a:cxn ang="0">
                  <a:pos x="60" y="20"/>
                </a:cxn>
                <a:cxn ang="0">
                  <a:pos x="2" y="30"/>
                </a:cxn>
                <a:cxn ang="0">
                  <a:pos x="18" y="82"/>
                </a:cxn>
                <a:cxn ang="0">
                  <a:pos x="29" y="156"/>
                </a:cxn>
                <a:cxn ang="0">
                  <a:pos x="88" y="296"/>
                </a:cxn>
                <a:cxn ang="0">
                  <a:pos x="51" y="332"/>
                </a:cxn>
                <a:cxn ang="0">
                  <a:pos x="91" y="413"/>
                </a:cxn>
                <a:cxn ang="0">
                  <a:pos x="84" y="455"/>
                </a:cxn>
                <a:cxn ang="0">
                  <a:pos x="238" y="676"/>
                </a:cxn>
                <a:cxn ang="0">
                  <a:pos x="290" y="681"/>
                </a:cxn>
                <a:cxn ang="0">
                  <a:pos x="376" y="651"/>
                </a:cxn>
                <a:cxn ang="0">
                  <a:pos x="387" y="629"/>
                </a:cxn>
                <a:cxn ang="0">
                  <a:pos x="394" y="547"/>
                </a:cxn>
                <a:cxn ang="0">
                  <a:pos x="404" y="537"/>
                </a:cxn>
                <a:cxn ang="0">
                  <a:pos x="408" y="502"/>
                </a:cxn>
                <a:cxn ang="0">
                  <a:pos x="436" y="490"/>
                </a:cxn>
                <a:cxn ang="0">
                  <a:pos x="460" y="473"/>
                </a:cxn>
                <a:cxn ang="0">
                  <a:pos x="476" y="466"/>
                </a:cxn>
                <a:cxn ang="0">
                  <a:pos x="455" y="425"/>
                </a:cxn>
                <a:cxn ang="0">
                  <a:pos x="360" y="579"/>
                </a:cxn>
                <a:cxn ang="0">
                  <a:pos x="320" y="612"/>
                </a:cxn>
                <a:cxn ang="0">
                  <a:pos x="363" y="553"/>
                </a:cxn>
                <a:cxn ang="0">
                  <a:pos x="389" y="464"/>
                </a:cxn>
                <a:cxn ang="0">
                  <a:pos x="410" y="413"/>
                </a:cxn>
                <a:cxn ang="0">
                  <a:pos x="490" y="360"/>
                </a:cxn>
                <a:cxn ang="0">
                  <a:pos x="572" y="288"/>
                </a:cxn>
                <a:cxn ang="0">
                  <a:pos x="604" y="224"/>
                </a:cxn>
                <a:cxn ang="0">
                  <a:pos x="524" y="371"/>
                </a:cxn>
                <a:cxn ang="0">
                  <a:pos x="475" y="386"/>
                </a:cxn>
                <a:cxn ang="0">
                  <a:pos x="547" y="386"/>
                </a:cxn>
              </a:cxnLst>
              <a:rect l="0" t="0" r="r" b="b"/>
              <a:pathLst>
                <a:path w="604" h="681">
                  <a:moveTo>
                    <a:pt x="512" y="263"/>
                  </a:moveTo>
                  <a:cubicBezTo>
                    <a:pt x="500" y="270"/>
                    <a:pt x="447" y="306"/>
                    <a:pt x="435" y="284"/>
                  </a:cubicBezTo>
                  <a:cubicBezTo>
                    <a:pt x="432" y="285"/>
                    <a:pt x="427" y="287"/>
                    <a:pt x="424" y="288"/>
                  </a:cubicBezTo>
                  <a:cubicBezTo>
                    <a:pt x="427" y="299"/>
                    <a:pt x="432" y="310"/>
                    <a:pt x="437" y="318"/>
                  </a:cubicBezTo>
                  <a:cubicBezTo>
                    <a:pt x="416" y="330"/>
                    <a:pt x="399" y="311"/>
                    <a:pt x="382" y="318"/>
                  </a:cubicBezTo>
                  <a:cubicBezTo>
                    <a:pt x="375" y="311"/>
                    <a:pt x="368" y="304"/>
                    <a:pt x="367" y="294"/>
                  </a:cubicBezTo>
                  <a:cubicBezTo>
                    <a:pt x="363" y="299"/>
                    <a:pt x="356" y="307"/>
                    <a:pt x="348" y="308"/>
                  </a:cubicBezTo>
                  <a:cubicBezTo>
                    <a:pt x="341" y="299"/>
                    <a:pt x="348" y="292"/>
                    <a:pt x="357" y="287"/>
                  </a:cubicBezTo>
                  <a:cubicBezTo>
                    <a:pt x="352" y="270"/>
                    <a:pt x="333" y="276"/>
                    <a:pt x="320" y="268"/>
                  </a:cubicBezTo>
                  <a:cubicBezTo>
                    <a:pt x="320" y="264"/>
                    <a:pt x="319" y="259"/>
                    <a:pt x="320" y="255"/>
                  </a:cubicBezTo>
                  <a:cubicBezTo>
                    <a:pt x="316" y="254"/>
                    <a:pt x="316" y="253"/>
                    <a:pt x="313" y="250"/>
                  </a:cubicBezTo>
                  <a:cubicBezTo>
                    <a:pt x="316" y="247"/>
                    <a:pt x="316" y="240"/>
                    <a:pt x="319" y="236"/>
                  </a:cubicBezTo>
                  <a:cubicBezTo>
                    <a:pt x="315" y="234"/>
                    <a:pt x="313" y="230"/>
                    <a:pt x="308" y="228"/>
                  </a:cubicBezTo>
                  <a:cubicBezTo>
                    <a:pt x="315" y="227"/>
                    <a:pt x="321" y="224"/>
                    <a:pt x="327" y="224"/>
                  </a:cubicBezTo>
                  <a:cubicBezTo>
                    <a:pt x="325" y="221"/>
                    <a:pt x="321" y="213"/>
                    <a:pt x="318" y="210"/>
                  </a:cubicBezTo>
                  <a:cubicBezTo>
                    <a:pt x="332" y="209"/>
                    <a:pt x="343" y="213"/>
                    <a:pt x="355" y="216"/>
                  </a:cubicBezTo>
                  <a:cubicBezTo>
                    <a:pt x="357" y="212"/>
                    <a:pt x="361" y="209"/>
                    <a:pt x="363" y="206"/>
                  </a:cubicBezTo>
                  <a:cubicBezTo>
                    <a:pt x="365" y="208"/>
                    <a:pt x="364" y="210"/>
                    <a:pt x="366" y="212"/>
                  </a:cubicBezTo>
                  <a:cubicBezTo>
                    <a:pt x="381" y="201"/>
                    <a:pt x="388" y="207"/>
                    <a:pt x="389" y="188"/>
                  </a:cubicBezTo>
                  <a:cubicBezTo>
                    <a:pt x="390" y="176"/>
                    <a:pt x="380" y="165"/>
                    <a:pt x="373" y="158"/>
                  </a:cubicBezTo>
                  <a:cubicBezTo>
                    <a:pt x="354" y="139"/>
                    <a:pt x="349" y="131"/>
                    <a:pt x="345" y="100"/>
                  </a:cubicBezTo>
                  <a:cubicBezTo>
                    <a:pt x="345" y="98"/>
                    <a:pt x="344" y="94"/>
                    <a:pt x="343" y="92"/>
                  </a:cubicBezTo>
                  <a:cubicBezTo>
                    <a:pt x="301" y="94"/>
                    <a:pt x="330" y="76"/>
                    <a:pt x="314" y="58"/>
                  </a:cubicBezTo>
                  <a:cubicBezTo>
                    <a:pt x="306" y="61"/>
                    <a:pt x="301" y="59"/>
                    <a:pt x="294" y="55"/>
                  </a:cubicBezTo>
                  <a:cubicBezTo>
                    <a:pt x="301" y="45"/>
                    <a:pt x="298" y="36"/>
                    <a:pt x="284" y="38"/>
                  </a:cubicBezTo>
                  <a:cubicBezTo>
                    <a:pt x="285" y="34"/>
                    <a:pt x="284" y="29"/>
                    <a:pt x="285" y="26"/>
                  </a:cubicBezTo>
                  <a:cubicBezTo>
                    <a:pt x="275" y="23"/>
                    <a:pt x="272" y="14"/>
                    <a:pt x="269" y="4"/>
                  </a:cubicBezTo>
                  <a:cubicBezTo>
                    <a:pt x="268" y="17"/>
                    <a:pt x="268" y="30"/>
                    <a:pt x="270" y="43"/>
                  </a:cubicBezTo>
                  <a:cubicBezTo>
                    <a:pt x="272" y="60"/>
                    <a:pt x="274" y="92"/>
                    <a:pt x="256" y="104"/>
                  </a:cubicBezTo>
                  <a:cubicBezTo>
                    <a:pt x="236" y="118"/>
                    <a:pt x="219" y="88"/>
                    <a:pt x="203" y="117"/>
                  </a:cubicBezTo>
                  <a:cubicBezTo>
                    <a:pt x="200" y="105"/>
                    <a:pt x="207" y="96"/>
                    <a:pt x="203" y="84"/>
                  </a:cubicBezTo>
                  <a:cubicBezTo>
                    <a:pt x="188" y="75"/>
                    <a:pt x="188" y="60"/>
                    <a:pt x="182" y="45"/>
                  </a:cubicBezTo>
                  <a:cubicBezTo>
                    <a:pt x="176" y="30"/>
                    <a:pt x="168" y="28"/>
                    <a:pt x="153" y="31"/>
                  </a:cubicBezTo>
                  <a:cubicBezTo>
                    <a:pt x="135" y="36"/>
                    <a:pt x="133" y="33"/>
                    <a:pt x="120" y="20"/>
                  </a:cubicBezTo>
                  <a:cubicBezTo>
                    <a:pt x="112" y="11"/>
                    <a:pt x="97" y="2"/>
                    <a:pt x="84" y="1"/>
                  </a:cubicBezTo>
                  <a:cubicBezTo>
                    <a:pt x="71" y="0"/>
                    <a:pt x="66" y="10"/>
                    <a:pt x="60" y="20"/>
                  </a:cubicBezTo>
                  <a:cubicBezTo>
                    <a:pt x="48" y="22"/>
                    <a:pt x="33" y="19"/>
                    <a:pt x="22" y="16"/>
                  </a:cubicBezTo>
                  <a:cubicBezTo>
                    <a:pt x="14" y="15"/>
                    <a:pt x="3" y="23"/>
                    <a:pt x="2" y="30"/>
                  </a:cubicBezTo>
                  <a:cubicBezTo>
                    <a:pt x="0" y="42"/>
                    <a:pt x="11" y="45"/>
                    <a:pt x="15" y="54"/>
                  </a:cubicBezTo>
                  <a:cubicBezTo>
                    <a:pt x="21" y="64"/>
                    <a:pt x="15" y="73"/>
                    <a:pt x="18" y="82"/>
                  </a:cubicBezTo>
                  <a:cubicBezTo>
                    <a:pt x="20" y="91"/>
                    <a:pt x="31" y="95"/>
                    <a:pt x="35" y="102"/>
                  </a:cubicBezTo>
                  <a:cubicBezTo>
                    <a:pt x="46" y="121"/>
                    <a:pt x="32" y="138"/>
                    <a:pt x="29" y="156"/>
                  </a:cubicBezTo>
                  <a:cubicBezTo>
                    <a:pt x="24" y="177"/>
                    <a:pt x="48" y="184"/>
                    <a:pt x="62" y="195"/>
                  </a:cubicBezTo>
                  <a:cubicBezTo>
                    <a:pt x="96" y="220"/>
                    <a:pt x="110" y="256"/>
                    <a:pt x="88" y="296"/>
                  </a:cubicBezTo>
                  <a:cubicBezTo>
                    <a:pt x="84" y="303"/>
                    <a:pt x="80" y="313"/>
                    <a:pt x="74" y="319"/>
                  </a:cubicBezTo>
                  <a:cubicBezTo>
                    <a:pt x="67" y="325"/>
                    <a:pt x="57" y="326"/>
                    <a:pt x="51" y="332"/>
                  </a:cubicBezTo>
                  <a:cubicBezTo>
                    <a:pt x="38" y="345"/>
                    <a:pt x="63" y="356"/>
                    <a:pt x="67" y="368"/>
                  </a:cubicBezTo>
                  <a:cubicBezTo>
                    <a:pt x="74" y="386"/>
                    <a:pt x="81" y="398"/>
                    <a:pt x="91" y="413"/>
                  </a:cubicBezTo>
                  <a:cubicBezTo>
                    <a:pt x="101" y="428"/>
                    <a:pt x="94" y="446"/>
                    <a:pt x="98" y="464"/>
                  </a:cubicBezTo>
                  <a:cubicBezTo>
                    <a:pt x="92" y="463"/>
                    <a:pt x="87" y="459"/>
                    <a:pt x="84" y="455"/>
                  </a:cubicBezTo>
                  <a:cubicBezTo>
                    <a:pt x="96" y="525"/>
                    <a:pt x="102" y="642"/>
                    <a:pt x="167" y="663"/>
                  </a:cubicBezTo>
                  <a:cubicBezTo>
                    <a:pt x="189" y="670"/>
                    <a:pt x="214" y="671"/>
                    <a:pt x="238" y="676"/>
                  </a:cubicBezTo>
                  <a:cubicBezTo>
                    <a:pt x="252" y="669"/>
                    <a:pt x="263" y="653"/>
                    <a:pt x="281" y="660"/>
                  </a:cubicBezTo>
                  <a:cubicBezTo>
                    <a:pt x="285" y="667"/>
                    <a:pt x="288" y="674"/>
                    <a:pt x="290" y="681"/>
                  </a:cubicBezTo>
                  <a:cubicBezTo>
                    <a:pt x="294" y="679"/>
                    <a:pt x="298" y="678"/>
                    <a:pt x="303" y="676"/>
                  </a:cubicBezTo>
                  <a:cubicBezTo>
                    <a:pt x="327" y="667"/>
                    <a:pt x="353" y="662"/>
                    <a:pt x="376" y="651"/>
                  </a:cubicBezTo>
                  <a:cubicBezTo>
                    <a:pt x="377" y="646"/>
                    <a:pt x="373" y="639"/>
                    <a:pt x="375" y="636"/>
                  </a:cubicBezTo>
                  <a:cubicBezTo>
                    <a:pt x="378" y="632"/>
                    <a:pt x="384" y="633"/>
                    <a:pt x="387" y="629"/>
                  </a:cubicBezTo>
                  <a:cubicBezTo>
                    <a:pt x="400" y="616"/>
                    <a:pt x="392" y="589"/>
                    <a:pt x="390" y="573"/>
                  </a:cubicBezTo>
                  <a:cubicBezTo>
                    <a:pt x="390" y="565"/>
                    <a:pt x="392" y="556"/>
                    <a:pt x="394" y="547"/>
                  </a:cubicBezTo>
                  <a:cubicBezTo>
                    <a:pt x="395" y="544"/>
                    <a:pt x="395" y="540"/>
                    <a:pt x="398" y="538"/>
                  </a:cubicBezTo>
                  <a:cubicBezTo>
                    <a:pt x="399" y="538"/>
                    <a:pt x="402" y="537"/>
                    <a:pt x="404" y="537"/>
                  </a:cubicBezTo>
                  <a:cubicBezTo>
                    <a:pt x="405" y="534"/>
                    <a:pt x="407" y="530"/>
                    <a:pt x="408" y="526"/>
                  </a:cubicBezTo>
                  <a:cubicBezTo>
                    <a:pt x="412" y="518"/>
                    <a:pt x="409" y="511"/>
                    <a:pt x="408" y="502"/>
                  </a:cubicBezTo>
                  <a:cubicBezTo>
                    <a:pt x="412" y="499"/>
                    <a:pt x="416" y="495"/>
                    <a:pt x="420" y="493"/>
                  </a:cubicBezTo>
                  <a:cubicBezTo>
                    <a:pt x="425" y="490"/>
                    <a:pt x="431" y="491"/>
                    <a:pt x="436" y="490"/>
                  </a:cubicBezTo>
                  <a:cubicBezTo>
                    <a:pt x="441" y="488"/>
                    <a:pt x="442" y="483"/>
                    <a:pt x="447" y="480"/>
                  </a:cubicBezTo>
                  <a:cubicBezTo>
                    <a:pt x="449" y="478"/>
                    <a:pt x="457" y="474"/>
                    <a:pt x="460" y="473"/>
                  </a:cubicBezTo>
                  <a:cubicBezTo>
                    <a:pt x="461" y="473"/>
                    <a:pt x="462" y="473"/>
                    <a:pt x="463" y="473"/>
                  </a:cubicBezTo>
                  <a:cubicBezTo>
                    <a:pt x="466" y="469"/>
                    <a:pt x="470" y="467"/>
                    <a:pt x="476" y="466"/>
                  </a:cubicBezTo>
                  <a:cubicBezTo>
                    <a:pt x="490" y="462"/>
                    <a:pt x="499" y="456"/>
                    <a:pt x="503" y="441"/>
                  </a:cubicBezTo>
                  <a:cubicBezTo>
                    <a:pt x="513" y="406"/>
                    <a:pt x="473" y="413"/>
                    <a:pt x="455" y="425"/>
                  </a:cubicBezTo>
                  <a:cubicBezTo>
                    <a:pt x="431" y="442"/>
                    <a:pt x="400" y="471"/>
                    <a:pt x="391" y="500"/>
                  </a:cubicBezTo>
                  <a:cubicBezTo>
                    <a:pt x="383" y="525"/>
                    <a:pt x="378" y="559"/>
                    <a:pt x="360" y="579"/>
                  </a:cubicBezTo>
                  <a:cubicBezTo>
                    <a:pt x="346" y="595"/>
                    <a:pt x="327" y="607"/>
                    <a:pt x="315" y="625"/>
                  </a:cubicBezTo>
                  <a:cubicBezTo>
                    <a:pt x="316" y="620"/>
                    <a:pt x="318" y="616"/>
                    <a:pt x="320" y="612"/>
                  </a:cubicBezTo>
                  <a:cubicBezTo>
                    <a:pt x="325" y="603"/>
                    <a:pt x="331" y="596"/>
                    <a:pt x="338" y="589"/>
                  </a:cubicBezTo>
                  <a:cubicBezTo>
                    <a:pt x="348" y="577"/>
                    <a:pt x="357" y="568"/>
                    <a:pt x="363" y="553"/>
                  </a:cubicBezTo>
                  <a:cubicBezTo>
                    <a:pt x="369" y="538"/>
                    <a:pt x="372" y="522"/>
                    <a:pt x="374" y="506"/>
                  </a:cubicBezTo>
                  <a:cubicBezTo>
                    <a:pt x="376" y="491"/>
                    <a:pt x="382" y="478"/>
                    <a:pt x="389" y="464"/>
                  </a:cubicBezTo>
                  <a:cubicBezTo>
                    <a:pt x="394" y="455"/>
                    <a:pt x="403" y="450"/>
                    <a:pt x="408" y="441"/>
                  </a:cubicBezTo>
                  <a:cubicBezTo>
                    <a:pt x="413" y="433"/>
                    <a:pt x="407" y="422"/>
                    <a:pt x="410" y="413"/>
                  </a:cubicBezTo>
                  <a:cubicBezTo>
                    <a:pt x="414" y="398"/>
                    <a:pt x="431" y="388"/>
                    <a:pt x="442" y="378"/>
                  </a:cubicBezTo>
                  <a:cubicBezTo>
                    <a:pt x="458" y="366"/>
                    <a:pt x="472" y="366"/>
                    <a:pt x="490" y="360"/>
                  </a:cubicBezTo>
                  <a:cubicBezTo>
                    <a:pt x="513" y="352"/>
                    <a:pt x="542" y="341"/>
                    <a:pt x="560" y="324"/>
                  </a:cubicBezTo>
                  <a:cubicBezTo>
                    <a:pt x="570" y="314"/>
                    <a:pt x="570" y="301"/>
                    <a:pt x="572" y="288"/>
                  </a:cubicBezTo>
                  <a:cubicBezTo>
                    <a:pt x="576" y="270"/>
                    <a:pt x="583" y="251"/>
                    <a:pt x="594" y="236"/>
                  </a:cubicBezTo>
                  <a:cubicBezTo>
                    <a:pt x="597" y="232"/>
                    <a:pt x="601" y="228"/>
                    <a:pt x="604" y="224"/>
                  </a:cubicBezTo>
                  <a:cubicBezTo>
                    <a:pt x="590" y="201"/>
                    <a:pt x="525" y="256"/>
                    <a:pt x="512" y="263"/>
                  </a:cubicBezTo>
                  <a:close/>
                  <a:moveTo>
                    <a:pt x="524" y="371"/>
                  </a:moveTo>
                  <a:cubicBezTo>
                    <a:pt x="507" y="370"/>
                    <a:pt x="488" y="372"/>
                    <a:pt x="474" y="384"/>
                  </a:cubicBezTo>
                  <a:cubicBezTo>
                    <a:pt x="474" y="384"/>
                    <a:pt x="475" y="385"/>
                    <a:pt x="475" y="386"/>
                  </a:cubicBezTo>
                  <a:cubicBezTo>
                    <a:pt x="492" y="388"/>
                    <a:pt x="508" y="391"/>
                    <a:pt x="526" y="390"/>
                  </a:cubicBezTo>
                  <a:cubicBezTo>
                    <a:pt x="531" y="389"/>
                    <a:pt x="543" y="389"/>
                    <a:pt x="547" y="386"/>
                  </a:cubicBezTo>
                  <a:cubicBezTo>
                    <a:pt x="564" y="374"/>
                    <a:pt x="530" y="372"/>
                    <a:pt x="524" y="371"/>
                  </a:cubicBez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2" name="Freeform 4024">
              <a:extLst>
                <a:ext uri="{FF2B5EF4-FFF2-40B4-BE49-F238E27FC236}">
                  <a16:creationId xmlns:a16="http://schemas.microsoft.com/office/drawing/2014/main" id="{703C5692-B4F5-42F1-9C38-680475EEB03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8501" y="4819650"/>
              <a:ext cx="1792288" cy="1755775"/>
            </a:xfrm>
            <a:custGeom>
              <a:avLst/>
              <a:gdLst/>
              <a:ahLst/>
              <a:cxnLst>
                <a:cxn ang="0">
                  <a:pos x="603" y="397"/>
                </a:cxn>
                <a:cxn ang="0">
                  <a:pos x="559" y="454"/>
                </a:cxn>
                <a:cxn ang="0">
                  <a:pos x="527" y="468"/>
                </a:cxn>
                <a:cxn ang="0">
                  <a:pos x="471" y="510"/>
                </a:cxn>
                <a:cxn ang="0">
                  <a:pos x="464" y="535"/>
                </a:cxn>
                <a:cxn ang="0">
                  <a:pos x="399" y="582"/>
                </a:cxn>
                <a:cxn ang="0">
                  <a:pos x="402" y="534"/>
                </a:cxn>
                <a:cxn ang="0">
                  <a:pos x="409" y="511"/>
                </a:cxn>
                <a:cxn ang="0">
                  <a:pos x="414" y="470"/>
                </a:cxn>
                <a:cxn ang="0">
                  <a:pos x="441" y="452"/>
                </a:cxn>
                <a:cxn ang="0">
                  <a:pos x="362" y="410"/>
                </a:cxn>
                <a:cxn ang="0">
                  <a:pos x="324" y="418"/>
                </a:cxn>
                <a:cxn ang="0">
                  <a:pos x="292" y="397"/>
                </a:cxn>
                <a:cxn ang="0">
                  <a:pos x="287" y="367"/>
                </a:cxn>
                <a:cxn ang="0">
                  <a:pos x="269" y="355"/>
                </a:cxn>
                <a:cxn ang="0">
                  <a:pos x="213" y="326"/>
                </a:cxn>
                <a:cxn ang="0">
                  <a:pos x="168" y="356"/>
                </a:cxn>
                <a:cxn ang="0">
                  <a:pos x="115" y="357"/>
                </a:cxn>
                <a:cxn ang="0">
                  <a:pos x="86" y="355"/>
                </a:cxn>
                <a:cxn ang="0">
                  <a:pos x="29" y="344"/>
                </a:cxn>
                <a:cxn ang="0">
                  <a:pos x="1" y="312"/>
                </a:cxn>
                <a:cxn ang="0">
                  <a:pos x="2" y="216"/>
                </a:cxn>
                <a:cxn ang="0">
                  <a:pos x="33" y="134"/>
                </a:cxn>
                <a:cxn ang="0">
                  <a:pos x="158" y="16"/>
                </a:cxn>
                <a:cxn ang="0">
                  <a:pos x="188" y="33"/>
                </a:cxn>
                <a:cxn ang="0">
                  <a:pos x="213" y="41"/>
                </a:cxn>
                <a:cxn ang="0">
                  <a:pos x="240" y="53"/>
                </a:cxn>
                <a:cxn ang="0">
                  <a:pos x="300" y="60"/>
                </a:cxn>
                <a:cxn ang="0">
                  <a:pos x="328" y="147"/>
                </a:cxn>
                <a:cxn ang="0">
                  <a:pos x="363" y="176"/>
                </a:cxn>
                <a:cxn ang="0">
                  <a:pos x="397" y="171"/>
                </a:cxn>
                <a:cxn ang="0">
                  <a:pos x="480" y="379"/>
                </a:cxn>
                <a:cxn ang="0">
                  <a:pos x="594" y="376"/>
                </a:cxn>
              </a:cxnLst>
              <a:rect l="0" t="0" r="r" b="b"/>
              <a:pathLst>
                <a:path w="603" h="591">
                  <a:moveTo>
                    <a:pt x="594" y="376"/>
                  </a:moveTo>
                  <a:cubicBezTo>
                    <a:pt x="598" y="383"/>
                    <a:pt x="601" y="390"/>
                    <a:pt x="603" y="397"/>
                  </a:cubicBezTo>
                  <a:cubicBezTo>
                    <a:pt x="591" y="402"/>
                    <a:pt x="582" y="409"/>
                    <a:pt x="574" y="423"/>
                  </a:cubicBezTo>
                  <a:cubicBezTo>
                    <a:pt x="568" y="433"/>
                    <a:pt x="563" y="443"/>
                    <a:pt x="559" y="454"/>
                  </a:cubicBezTo>
                  <a:cubicBezTo>
                    <a:pt x="554" y="448"/>
                    <a:pt x="544" y="447"/>
                    <a:pt x="541" y="454"/>
                  </a:cubicBezTo>
                  <a:cubicBezTo>
                    <a:pt x="536" y="464"/>
                    <a:pt x="541" y="467"/>
                    <a:pt x="527" y="468"/>
                  </a:cubicBezTo>
                  <a:cubicBezTo>
                    <a:pt x="511" y="470"/>
                    <a:pt x="495" y="475"/>
                    <a:pt x="483" y="488"/>
                  </a:cubicBezTo>
                  <a:cubicBezTo>
                    <a:pt x="477" y="494"/>
                    <a:pt x="472" y="502"/>
                    <a:pt x="471" y="510"/>
                  </a:cubicBezTo>
                  <a:cubicBezTo>
                    <a:pt x="477" y="512"/>
                    <a:pt x="503" y="505"/>
                    <a:pt x="499" y="519"/>
                  </a:cubicBezTo>
                  <a:cubicBezTo>
                    <a:pt x="497" y="529"/>
                    <a:pt x="472" y="531"/>
                    <a:pt x="464" y="535"/>
                  </a:cubicBezTo>
                  <a:cubicBezTo>
                    <a:pt x="453" y="540"/>
                    <a:pt x="442" y="546"/>
                    <a:pt x="430" y="551"/>
                  </a:cubicBezTo>
                  <a:cubicBezTo>
                    <a:pt x="415" y="557"/>
                    <a:pt x="412" y="575"/>
                    <a:pt x="399" y="582"/>
                  </a:cubicBezTo>
                  <a:cubicBezTo>
                    <a:pt x="380" y="591"/>
                    <a:pt x="382" y="575"/>
                    <a:pt x="388" y="564"/>
                  </a:cubicBezTo>
                  <a:cubicBezTo>
                    <a:pt x="394" y="555"/>
                    <a:pt x="397" y="544"/>
                    <a:pt x="402" y="534"/>
                  </a:cubicBezTo>
                  <a:cubicBezTo>
                    <a:pt x="403" y="532"/>
                    <a:pt x="406" y="530"/>
                    <a:pt x="408" y="527"/>
                  </a:cubicBezTo>
                  <a:cubicBezTo>
                    <a:pt x="410" y="523"/>
                    <a:pt x="410" y="517"/>
                    <a:pt x="409" y="511"/>
                  </a:cubicBezTo>
                  <a:cubicBezTo>
                    <a:pt x="409" y="505"/>
                    <a:pt x="406" y="501"/>
                    <a:pt x="405" y="496"/>
                  </a:cubicBezTo>
                  <a:cubicBezTo>
                    <a:pt x="403" y="486"/>
                    <a:pt x="414" y="480"/>
                    <a:pt x="414" y="470"/>
                  </a:cubicBezTo>
                  <a:cubicBezTo>
                    <a:pt x="414" y="463"/>
                    <a:pt x="407" y="458"/>
                    <a:pt x="409" y="450"/>
                  </a:cubicBezTo>
                  <a:cubicBezTo>
                    <a:pt x="418" y="455"/>
                    <a:pt x="432" y="462"/>
                    <a:pt x="441" y="452"/>
                  </a:cubicBezTo>
                  <a:cubicBezTo>
                    <a:pt x="448" y="444"/>
                    <a:pt x="442" y="429"/>
                    <a:pt x="434" y="423"/>
                  </a:cubicBezTo>
                  <a:cubicBezTo>
                    <a:pt x="416" y="408"/>
                    <a:pt x="384" y="411"/>
                    <a:pt x="362" y="410"/>
                  </a:cubicBezTo>
                  <a:cubicBezTo>
                    <a:pt x="357" y="410"/>
                    <a:pt x="351" y="410"/>
                    <a:pt x="346" y="411"/>
                  </a:cubicBezTo>
                  <a:cubicBezTo>
                    <a:pt x="338" y="413"/>
                    <a:pt x="333" y="419"/>
                    <a:pt x="324" y="418"/>
                  </a:cubicBezTo>
                  <a:cubicBezTo>
                    <a:pt x="315" y="417"/>
                    <a:pt x="310" y="410"/>
                    <a:pt x="303" y="406"/>
                  </a:cubicBezTo>
                  <a:cubicBezTo>
                    <a:pt x="298" y="403"/>
                    <a:pt x="295" y="402"/>
                    <a:pt x="292" y="397"/>
                  </a:cubicBezTo>
                  <a:cubicBezTo>
                    <a:pt x="290" y="392"/>
                    <a:pt x="292" y="386"/>
                    <a:pt x="289" y="381"/>
                  </a:cubicBezTo>
                  <a:cubicBezTo>
                    <a:pt x="297" y="379"/>
                    <a:pt x="294" y="365"/>
                    <a:pt x="287" y="367"/>
                  </a:cubicBezTo>
                  <a:cubicBezTo>
                    <a:pt x="284" y="364"/>
                    <a:pt x="285" y="360"/>
                    <a:pt x="282" y="357"/>
                  </a:cubicBezTo>
                  <a:cubicBezTo>
                    <a:pt x="279" y="354"/>
                    <a:pt x="274" y="355"/>
                    <a:pt x="269" y="355"/>
                  </a:cubicBezTo>
                  <a:cubicBezTo>
                    <a:pt x="263" y="365"/>
                    <a:pt x="245" y="346"/>
                    <a:pt x="242" y="341"/>
                  </a:cubicBezTo>
                  <a:cubicBezTo>
                    <a:pt x="240" y="325"/>
                    <a:pt x="225" y="326"/>
                    <a:pt x="213" y="326"/>
                  </a:cubicBezTo>
                  <a:cubicBezTo>
                    <a:pt x="200" y="327"/>
                    <a:pt x="193" y="316"/>
                    <a:pt x="185" y="329"/>
                  </a:cubicBezTo>
                  <a:cubicBezTo>
                    <a:pt x="180" y="338"/>
                    <a:pt x="174" y="349"/>
                    <a:pt x="168" y="356"/>
                  </a:cubicBezTo>
                  <a:cubicBezTo>
                    <a:pt x="161" y="363"/>
                    <a:pt x="141" y="365"/>
                    <a:pt x="131" y="364"/>
                  </a:cubicBezTo>
                  <a:cubicBezTo>
                    <a:pt x="125" y="363"/>
                    <a:pt x="121" y="356"/>
                    <a:pt x="115" y="357"/>
                  </a:cubicBezTo>
                  <a:cubicBezTo>
                    <a:pt x="108" y="358"/>
                    <a:pt x="106" y="367"/>
                    <a:pt x="98" y="362"/>
                  </a:cubicBezTo>
                  <a:cubicBezTo>
                    <a:pt x="90" y="358"/>
                    <a:pt x="95" y="356"/>
                    <a:pt x="86" y="355"/>
                  </a:cubicBezTo>
                  <a:cubicBezTo>
                    <a:pt x="72" y="355"/>
                    <a:pt x="72" y="349"/>
                    <a:pt x="60" y="345"/>
                  </a:cubicBezTo>
                  <a:cubicBezTo>
                    <a:pt x="51" y="341"/>
                    <a:pt x="39" y="346"/>
                    <a:pt x="29" y="344"/>
                  </a:cubicBezTo>
                  <a:cubicBezTo>
                    <a:pt x="20" y="342"/>
                    <a:pt x="15" y="345"/>
                    <a:pt x="10" y="333"/>
                  </a:cubicBezTo>
                  <a:cubicBezTo>
                    <a:pt x="7" y="325"/>
                    <a:pt x="13" y="315"/>
                    <a:pt x="1" y="312"/>
                  </a:cubicBezTo>
                  <a:cubicBezTo>
                    <a:pt x="1" y="314"/>
                    <a:pt x="0" y="315"/>
                    <a:pt x="0" y="317"/>
                  </a:cubicBezTo>
                  <a:cubicBezTo>
                    <a:pt x="0" y="283"/>
                    <a:pt x="2" y="249"/>
                    <a:pt x="2" y="216"/>
                  </a:cubicBezTo>
                  <a:cubicBezTo>
                    <a:pt x="2" y="202"/>
                    <a:pt x="1" y="166"/>
                    <a:pt x="1" y="166"/>
                  </a:cubicBezTo>
                  <a:cubicBezTo>
                    <a:pt x="1" y="166"/>
                    <a:pt x="25" y="144"/>
                    <a:pt x="33" y="134"/>
                  </a:cubicBezTo>
                  <a:cubicBezTo>
                    <a:pt x="69" y="92"/>
                    <a:pt x="106" y="45"/>
                    <a:pt x="137" y="0"/>
                  </a:cubicBezTo>
                  <a:cubicBezTo>
                    <a:pt x="146" y="2"/>
                    <a:pt x="152" y="9"/>
                    <a:pt x="158" y="16"/>
                  </a:cubicBezTo>
                  <a:cubicBezTo>
                    <a:pt x="162" y="22"/>
                    <a:pt x="164" y="29"/>
                    <a:pt x="169" y="32"/>
                  </a:cubicBezTo>
                  <a:cubicBezTo>
                    <a:pt x="175" y="35"/>
                    <a:pt x="182" y="31"/>
                    <a:pt x="188" y="33"/>
                  </a:cubicBezTo>
                  <a:cubicBezTo>
                    <a:pt x="192" y="35"/>
                    <a:pt x="194" y="39"/>
                    <a:pt x="198" y="41"/>
                  </a:cubicBezTo>
                  <a:cubicBezTo>
                    <a:pt x="203" y="42"/>
                    <a:pt x="208" y="38"/>
                    <a:pt x="213" y="41"/>
                  </a:cubicBezTo>
                  <a:cubicBezTo>
                    <a:pt x="218" y="44"/>
                    <a:pt x="218" y="51"/>
                    <a:pt x="223" y="53"/>
                  </a:cubicBezTo>
                  <a:cubicBezTo>
                    <a:pt x="229" y="57"/>
                    <a:pt x="233" y="54"/>
                    <a:pt x="240" y="53"/>
                  </a:cubicBezTo>
                  <a:cubicBezTo>
                    <a:pt x="251" y="50"/>
                    <a:pt x="262" y="50"/>
                    <a:pt x="273" y="49"/>
                  </a:cubicBezTo>
                  <a:cubicBezTo>
                    <a:pt x="286" y="49"/>
                    <a:pt x="297" y="46"/>
                    <a:pt x="300" y="60"/>
                  </a:cubicBezTo>
                  <a:cubicBezTo>
                    <a:pt x="304" y="75"/>
                    <a:pt x="302" y="91"/>
                    <a:pt x="308" y="106"/>
                  </a:cubicBezTo>
                  <a:cubicBezTo>
                    <a:pt x="313" y="121"/>
                    <a:pt x="315" y="137"/>
                    <a:pt x="328" y="147"/>
                  </a:cubicBezTo>
                  <a:cubicBezTo>
                    <a:pt x="335" y="154"/>
                    <a:pt x="344" y="157"/>
                    <a:pt x="347" y="167"/>
                  </a:cubicBezTo>
                  <a:cubicBezTo>
                    <a:pt x="352" y="170"/>
                    <a:pt x="358" y="172"/>
                    <a:pt x="363" y="176"/>
                  </a:cubicBezTo>
                  <a:cubicBezTo>
                    <a:pt x="368" y="180"/>
                    <a:pt x="369" y="188"/>
                    <a:pt x="374" y="191"/>
                  </a:cubicBezTo>
                  <a:cubicBezTo>
                    <a:pt x="393" y="204"/>
                    <a:pt x="393" y="181"/>
                    <a:pt x="397" y="171"/>
                  </a:cubicBezTo>
                  <a:cubicBezTo>
                    <a:pt x="397" y="171"/>
                    <a:pt x="397" y="171"/>
                    <a:pt x="397" y="171"/>
                  </a:cubicBezTo>
                  <a:cubicBezTo>
                    <a:pt x="409" y="241"/>
                    <a:pt x="415" y="358"/>
                    <a:pt x="480" y="379"/>
                  </a:cubicBezTo>
                  <a:cubicBezTo>
                    <a:pt x="502" y="386"/>
                    <a:pt x="527" y="387"/>
                    <a:pt x="551" y="392"/>
                  </a:cubicBezTo>
                  <a:cubicBezTo>
                    <a:pt x="565" y="385"/>
                    <a:pt x="576" y="369"/>
                    <a:pt x="594" y="376"/>
                  </a:cubicBez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3" name="Freeform 4025">
              <a:extLst>
                <a:ext uri="{FF2B5EF4-FFF2-40B4-BE49-F238E27FC236}">
                  <a16:creationId xmlns:a16="http://schemas.microsoft.com/office/drawing/2014/main" id="{60B83D20-148F-4176-A2E8-7DE2B6518A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00501" y="4418013"/>
              <a:ext cx="915988" cy="1390650"/>
            </a:xfrm>
            <a:custGeom>
              <a:avLst/>
              <a:gdLst/>
              <a:ahLst/>
              <a:cxnLst>
                <a:cxn ang="0">
                  <a:pos x="303" y="134"/>
                </a:cxn>
                <a:cxn ang="0">
                  <a:pos x="308" y="135"/>
                </a:cxn>
                <a:cxn ang="0">
                  <a:pos x="204" y="269"/>
                </a:cxn>
                <a:cxn ang="0">
                  <a:pos x="172" y="301"/>
                </a:cxn>
                <a:cxn ang="0">
                  <a:pos x="173" y="351"/>
                </a:cxn>
                <a:cxn ang="0">
                  <a:pos x="171" y="452"/>
                </a:cxn>
                <a:cxn ang="0">
                  <a:pos x="171" y="452"/>
                </a:cxn>
                <a:cxn ang="0">
                  <a:pos x="169" y="464"/>
                </a:cxn>
                <a:cxn ang="0">
                  <a:pos x="122" y="464"/>
                </a:cxn>
                <a:cxn ang="0">
                  <a:pos x="0" y="457"/>
                </a:cxn>
                <a:cxn ang="0">
                  <a:pos x="13" y="242"/>
                </a:cxn>
                <a:cxn ang="0">
                  <a:pos x="30" y="0"/>
                </a:cxn>
                <a:cxn ang="0">
                  <a:pos x="180" y="11"/>
                </a:cxn>
                <a:cxn ang="0">
                  <a:pos x="178" y="22"/>
                </a:cxn>
                <a:cxn ang="0">
                  <a:pos x="187" y="65"/>
                </a:cxn>
                <a:cxn ang="0">
                  <a:pos x="222" y="78"/>
                </a:cxn>
                <a:cxn ang="0">
                  <a:pos x="228" y="129"/>
                </a:cxn>
                <a:cxn ang="0">
                  <a:pos x="250" y="126"/>
                </a:cxn>
                <a:cxn ang="0">
                  <a:pos x="281" y="127"/>
                </a:cxn>
                <a:cxn ang="0">
                  <a:pos x="289" y="134"/>
                </a:cxn>
                <a:cxn ang="0">
                  <a:pos x="303" y="134"/>
                </a:cxn>
              </a:cxnLst>
              <a:rect l="0" t="0" r="r" b="b"/>
              <a:pathLst>
                <a:path w="308" h="468">
                  <a:moveTo>
                    <a:pt x="303" y="134"/>
                  </a:moveTo>
                  <a:cubicBezTo>
                    <a:pt x="305" y="134"/>
                    <a:pt x="306" y="134"/>
                    <a:pt x="308" y="135"/>
                  </a:cubicBezTo>
                  <a:cubicBezTo>
                    <a:pt x="277" y="180"/>
                    <a:pt x="240" y="227"/>
                    <a:pt x="204" y="269"/>
                  </a:cubicBezTo>
                  <a:cubicBezTo>
                    <a:pt x="196" y="279"/>
                    <a:pt x="172" y="301"/>
                    <a:pt x="172" y="301"/>
                  </a:cubicBezTo>
                  <a:cubicBezTo>
                    <a:pt x="172" y="301"/>
                    <a:pt x="173" y="337"/>
                    <a:pt x="173" y="351"/>
                  </a:cubicBezTo>
                  <a:cubicBezTo>
                    <a:pt x="173" y="384"/>
                    <a:pt x="171" y="418"/>
                    <a:pt x="171" y="452"/>
                  </a:cubicBezTo>
                  <a:cubicBezTo>
                    <a:pt x="171" y="452"/>
                    <a:pt x="171" y="452"/>
                    <a:pt x="171" y="452"/>
                  </a:cubicBezTo>
                  <a:cubicBezTo>
                    <a:pt x="170" y="456"/>
                    <a:pt x="169" y="460"/>
                    <a:pt x="169" y="464"/>
                  </a:cubicBezTo>
                  <a:cubicBezTo>
                    <a:pt x="170" y="468"/>
                    <a:pt x="126" y="464"/>
                    <a:pt x="122" y="464"/>
                  </a:cubicBezTo>
                  <a:cubicBezTo>
                    <a:pt x="81" y="463"/>
                    <a:pt x="40" y="461"/>
                    <a:pt x="0" y="457"/>
                  </a:cubicBezTo>
                  <a:cubicBezTo>
                    <a:pt x="4" y="385"/>
                    <a:pt x="9" y="314"/>
                    <a:pt x="13" y="242"/>
                  </a:cubicBezTo>
                  <a:cubicBezTo>
                    <a:pt x="19" y="163"/>
                    <a:pt x="21" y="81"/>
                    <a:pt x="30" y="0"/>
                  </a:cubicBezTo>
                  <a:cubicBezTo>
                    <a:pt x="78" y="6"/>
                    <a:pt x="128" y="10"/>
                    <a:pt x="180" y="11"/>
                  </a:cubicBezTo>
                  <a:cubicBezTo>
                    <a:pt x="179" y="14"/>
                    <a:pt x="178" y="18"/>
                    <a:pt x="178" y="22"/>
                  </a:cubicBezTo>
                  <a:cubicBezTo>
                    <a:pt x="176" y="34"/>
                    <a:pt x="171" y="60"/>
                    <a:pt x="187" y="65"/>
                  </a:cubicBezTo>
                  <a:cubicBezTo>
                    <a:pt x="203" y="70"/>
                    <a:pt x="215" y="56"/>
                    <a:pt x="222" y="78"/>
                  </a:cubicBezTo>
                  <a:cubicBezTo>
                    <a:pt x="226" y="93"/>
                    <a:pt x="227" y="113"/>
                    <a:pt x="228" y="129"/>
                  </a:cubicBezTo>
                  <a:cubicBezTo>
                    <a:pt x="228" y="134"/>
                    <a:pt x="249" y="126"/>
                    <a:pt x="250" y="126"/>
                  </a:cubicBezTo>
                  <a:cubicBezTo>
                    <a:pt x="259" y="124"/>
                    <a:pt x="273" y="124"/>
                    <a:pt x="281" y="127"/>
                  </a:cubicBezTo>
                  <a:cubicBezTo>
                    <a:pt x="284" y="129"/>
                    <a:pt x="285" y="133"/>
                    <a:pt x="289" y="134"/>
                  </a:cubicBezTo>
                  <a:cubicBezTo>
                    <a:pt x="293" y="136"/>
                    <a:pt x="299" y="133"/>
                    <a:pt x="303" y="134"/>
                  </a:cubicBez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4" name="Freeform 4026">
              <a:extLst>
                <a:ext uri="{FF2B5EF4-FFF2-40B4-BE49-F238E27FC236}">
                  <a16:creationId xmlns:a16="http://schemas.microsoft.com/office/drawing/2014/main" id="{11917024-8C6C-451D-A96F-D87B3231A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3113" y="4340225"/>
              <a:ext cx="776288" cy="1436688"/>
            </a:xfrm>
            <a:custGeom>
              <a:avLst/>
              <a:gdLst/>
              <a:ahLst/>
              <a:cxnLst>
                <a:cxn ang="0">
                  <a:pos x="261" y="26"/>
                </a:cxn>
                <a:cxn ang="0">
                  <a:pos x="244" y="268"/>
                </a:cxn>
                <a:cxn ang="0">
                  <a:pos x="231" y="483"/>
                </a:cxn>
                <a:cxn ang="0">
                  <a:pos x="0" y="444"/>
                </a:cxn>
                <a:cxn ang="0">
                  <a:pos x="107" y="0"/>
                </a:cxn>
                <a:cxn ang="0">
                  <a:pos x="261" y="26"/>
                </a:cxn>
              </a:cxnLst>
              <a:rect l="0" t="0" r="r" b="b"/>
              <a:pathLst>
                <a:path w="261" h="483">
                  <a:moveTo>
                    <a:pt x="261" y="26"/>
                  </a:moveTo>
                  <a:cubicBezTo>
                    <a:pt x="252" y="107"/>
                    <a:pt x="250" y="189"/>
                    <a:pt x="244" y="268"/>
                  </a:cubicBezTo>
                  <a:cubicBezTo>
                    <a:pt x="240" y="340"/>
                    <a:pt x="235" y="411"/>
                    <a:pt x="231" y="483"/>
                  </a:cubicBezTo>
                  <a:cubicBezTo>
                    <a:pt x="147" y="474"/>
                    <a:pt x="69" y="460"/>
                    <a:pt x="0" y="444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55" y="11"/>
                    <a:pt x="207" y="20"/>
                    <a:pt x="261" y="26"/>
                  </a:cubicBez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5" name="Freeform 4027">
              <a:extLst>
                <a:ext uri="{FF2B5EF4-FFF2-40B4-BE49-F238E27FC236}">
                  <a16:creationId xmlns:a16="http://schemas.microsoft.com/office/drawing/2014/main" id="{773FA7FA-8630-46BF-B609-2A1050A349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94076" y="1555750"/>
              <a:ext cx="2736850" cy="2895600"/>
            </a:xfrm>
            <a:custGeom>
              <a:avLst/>
              <a:gdLst/>
              <a:ahLst/>
              <a:cxnLst>
                <a:cxn ang="0">
                  <a:pos x="861" y="668"/>
                </a:cxn>
                <a:cxn ang="0">
                  <a:pos x="883" y="649"/>
                </a:cxn>
                <a:cxn ang="0">
                  <a:pos x="795" y="558"/>
                </a:cxn>
                <a:cxn ang="0">
                  <a:pos x="734" y="489"/>
                </a:cxn>
                <a:cxn ang="0">
                  <a:pos x="666" y="461"/>
                </a:cxn>
                <a:cxn ang="0">
                  <a:pos x="598" y="434"/>
                </a:cxn>
                <a:cxn ang="0">
                  <a:pos x="509" y="419"/>
                </a:cxn>
                <a:cxn ang="0">
                  <a:pos x="448" y="443"/>
                </a:cxn>
                <a:cxn ang="0">
                  <a:pos x="582" y="526"/>
                </a:cxn>
                <a:cxn ang="0">
                  <a:pos x="677" y="578"/>
                </a:cxn>
                <a:cxn ang="0">
                  <a:pos x="702" y="719"/>
                </a:cxn>
                <a:cxn ang="0">
                  <a:pos x="768" y="758"/>
                </a:cxn>
                <a:cxn ang="0">
                  <a:pos x="908" y="780"/>
                </a:cxn>
                <a:cxn ang="0">
                  <a:pos x="675" y="797"/>
                </a:cxn>
                <a:cxn ang="0">
                  <a:pos x="647" y="611"/>
                </a:cxn>
                <a:cxn ang="0">
                  <a:pos x="609" y="790"/>
                </a:cxn>
                <a:cxn ang="0">
                  <a:pos x="531" y="795"/>
                </a:cxn>
                <a:cxn ang="0">
                  <a:pos x="635" y="792"/>
                </a:cxn>
                <a:cxn ang="0">
                  <a:pos x="607" y="836"/>
                </a:cxn>
                <a:cxn ang="0">
                  <a:pos x="547" y="417"/>
                </a:cxn>
                <a:cxn ang="0">
                  <a:pos x="590" y="656"/>
                </a:cxn>
                <a:cxn ang="0">
                  <a:pos x="517" y="650"/>
                </a:cxn>
                <a:cxn ang="0">
                  <a:pos x="399" y="510"/>
                </a:cxn>
                <a:cxn ang="0">
                  <a:pos x="363" y="646"/>
                </a:cxn>
                <a:cxn ang="0">
                  <a:pos x="185" y="682"/>
                </a:cxn>
                <a:cxn ang="0">
                  <a:pos x="23" y="528"/>
                </a:cxn>
                <a:cxn ang="0">
                  <a:pos x="181" y="771"/>
                </a:cxn>
                <a:cxn ang="0">
                  <a:pos x="398" y="826"/>
                </a:cxn>
                <a:cxn ang="0">
                  <a:pos x="446" y="738"/>
                </a:cxn>
                <a:cxn ang="0">
                  <a:pos x="470" y="134"/>
                </a:cxn>
                <a:cxn ang="0">
                  <a:pos x="467" y="206"/>
                </a:cxn>
                <a:cxn ang="0">
                  <a:pos x="456" y="249"/>
                </a:cxn>
                <a:cxn ang="0">
                  <a:pos x="533" y="266"/>
                </a:cxn>
                <a:cxn ang="0">
                  <a:pos x="544" y="203"/>
                </a:cxn>
                <a:cxn ang="0">
                  <a:pos x="534" y="147"/>
                </a:cxn>
                <a:cxn ang="0">
                  <a:pos x="543" y="78"/>
                </a:cxn>
                <a:cxn ang="0">
                  <a:pos x="480" y="13"/>
                </a:cxn>
                <a:cxn ang="0">
                  <a:pos x="433" y="71"/>
                </a:cxn>
                <a:cxn ang="0">
                  <a:pos x="510" y="372"/>
                </a:cxn>
                <a:cxn ang="0">
                  <a:pos x="473" y="336"/>
                </a:cxn>
                <a:cxn ang="0">
                  <a:pos x="388" y="295"/>
                </a:cxn>
                <a:cxn ang="0">
                  <a:pos x="459" y="386"/>
                </a:cxn>
                <a:cxn ang="0">
                  <a:pos x="453" y="181"/>
                </a:cxn>
                <a:cxn ang="0">
                  <a:pos x="374" y="187"/>
                </a:cxn>
                <a:cxn ang="0">
                  <a:pos x="385" y="495"/>
                </a:cxn>
                <a:cxn ang="0">
                  <a:pos x="423" y="261"/>
                </a:cxn>
                <a:cxn ang="0">
                  <a:pos x="388" y="352"/>
                </a:cxn>
                <a:cxn ang="0">
                  <a:pos x="353" y="213"/>
                </a:cxn>
                <a:cxn ang="0">
                  <a:pos x="365" y="616"/>
                </a:cxn>
                <a:cxn ang="0">
                  <a:pos x="340" y="449"/>
                </a:cxn>
                <a:cxn ang="0">
                  <a:pos x="297" y="445"/>
                </a:cxn>
                <a:cxn ang="0">
                  <a:pos x="313" y="310"/>
                </a:cxn>
                <a:cxn ang="0">
                  <a:pos x="343" y="306"/>
                </a:cxn>
                <a:cxn ang="0">
                  <a:pos x="301" y="185"/>
                </a:cxn>
                <a:cxn ang="0">
                  <a:pos x="214" y="586"/>
                </a:cxn>
                <a:cxn ang="0">
                  <a:pos x="274" y="543"/>
                </a:cxn>
                <a:cxn ang="0">
                  <a:pos x="197" y="441"/>
                </a:cxn>
                <a:cxn ang="0">
                  <a:pos x="276" y="322"/>
                </a:cxn>
                <a:cxn ang="0">
                  <a:pos x="237" y="358"/>
                </a:cxn>
                <a:cxn ang="0">
                  <a:pos x="209" y="622"/>
                </a:cxn>
              </a:cxnLst>
              <a:rect l="0" t="0" r="r" b="b"/>
              <a:pathLst>
                <a:path w="921" h="974">
                  <a:moveTo>
                    <a:pt x="830" y="732"/>
                  </a:moveTo>
                  <a:cubicBezTo>
                    <a:pt x="840" y="708"/>
                    <a:pt x="873" y="737"/>
                    <a:pt x="889" y="738"/>
                  </a:cubicBezTo>
                  <a:cubicBezTo>
                    <a:pt x="921" y="741"/>
                    <a:pt x="910" y="712"/>
                    <a:pt x="893" y="715"/>
                  </a:cubicBezTo>
                  <a:cubicBezTo>
                    <a:pt x="896" y="715"/>
                    <a:pt x="898" y="712"/>
                    <a:pt x="903" y="713"/>
                  </a:cubicBezTo>
                  <a:cubicBezTo>
                    <a:pt x="894" y="708"/>
                    <a:pt x="895" y="701"/>
                    <a:pt x="890" y="695"/>
                  </a:cubicBezTo>
                  <a:cubicBezTo>
                    <a:pt x="884" y="689"/>
                    <a:pt x="877" y="689"/>
                    <a:pt x="873" y="681"/>
                  </a:cubicBezTo>
                  <a:cubicBezTo>
                    <a:pt x="861" y="684"/>
                    <a:pt x="868" y="672"/>
                    <a:pt x="861" y="668"/>
                  </a:cubicBezTo>
                  <a:cubicBezTo>
                    <a:pt x="855" y="666"/>
                    <a:pt x="846" y="674"/>
                    <a:pt x="840" y="671"/>
                  </a:cubicBezTo>
                  <a:cubicBezTo>
                    <a:pt x="830" y="667"/>
                    <a:pt x="825" y="642"/>
                    <a:pt x="813" y="663"/>
                  </a:cubicBezTo>
                  <a:cubicBezTo>
                    <a:pt x="813" y="652"/>
                    <a:pt x="805" y="652"/>
                    <a:pt x="799" y="645"/>
                  </a:cubicBezTo>
                  <a:cubicBezTo>
                    <a:pt x="815" y="645"/>
                    <a:pt x="797" y="618"/>
                    <a:pt x="824" y="623"/>
                  </a:cubicBezTo>
                  <a:cubicBezTo>
                    <a:pt x="827" y="624"/>
                    <a:pt x="832" y="630"/>
                    <a:pt x="834" y="630"/>
                  </a:cubicBezTo>
                  <a:cubicBezTo>
                    <a:pt x="838" y="630"/>
                    <a:pt x="845" y="625"/>
                    <a:pt x="850" y="623"/>
                  </a:cubicBezTo>
                  <a:cubicBezTo>
                    <a:pt x="851" y="631"/>
                    <a:pt x="877" y="654"/>
                    <a:pt x="883" y="649"/>
                  </a:cubicBezTo>
                  <a:cubicBezTo>
                    <a:pt x="888" y="646"/>
                    <a:pt x="890" y="642"/>
                    <a:pt x="889" y="637"/>
                  </a:cubicBezTo>
                  <a:cubicBezTo>
                    <a:pt x="873" y="626"/>
                    <a:pt x="888" y="623"/>
                    <a:pt x="891" y="615"/>
                  </a:cubicBezTo>
                  <a:cubicBezTo>
                    <a:pt x="896" y="603"/>
                    <a:pt x="891" y="586"/>
                    <a:pt x="892" y="573"/>
                  </a:cubicBezTo>
                  <a:cubicBezTo>
                    <a:pt x="884" y="566"/>
                    <a:pt x="873" y="562"/>
                    <a:pt x="862" y="560"/>
                  </a:cubicBezTo>
                  <a:cubicBezTo>
                    <a:pt x="855" y="560"/>
                    <a:pt x="848" y="562"/>
                    <a:pt x="842" y="561"/>
                  </a:cubicBezTo>
                  <a:cubicBezTo>
                    <a:pt x="835" y="560"/>
                    <a:pt x="830" y="554"/>
                    <a:pt x="824" y="553"/>
                  </a:cubicBezTo>
                  <a:cubicBezTo>
                    <a:pt x="814" y="551"/>
                    <a:pt x="804" y="559"/>
                    <a:pt x="795" y="558"/>
                  </a:cubicBezTo>
                  <a:cubicBezTo>
                    <a:pt x="788" y="556"/>
                    <a:pt x="787" y="549"/>
                    <a:pt x="784" y="547"/>
                  </a:cubicBezTo>
                  <a:cubicBezTo>
                    <a:pt x="772" y="543"/>
                    <a:pt x="759" y="556"/>
                    <a:pt x="749" y="546"/>
                  </a:cubicBezTo>
                  <a:cubicBezTo>
                    <a:pt x="755" y="544"/>
                    <a:pt x="761" y="529"/>
                    <a:pt x="754" y="526"/>
                  </a:cubicBezTo>
                  <a:cubicBezTo>
                    <a:pt x="763" y="530"/>
                    <a:pt x="772" y="523"/>
                    <a:pt x="764" y="514"/>
                  </a:cubicBezTo>
                  <a:cubicBezTo>
                    <a:pt x="757" y="520"/>
                    <a:pt x="749" y="519"/>
                    <a:pt x="742" y="519"/>
                  </a:cubicBezTo>
                  <a:cubicBezTo>
                    <a:pt x="732" y="508"/>
                    <a:pt x="754" y="505"/>
                    <a:pt x="752" y="497"/>
                  </a:cubicBezTo>
                  <a:cubicBezTo>
                    <a:pt x="751" y="492"/>
                    <a:pt x="739" y="495"/>
                    <a:pt x="734" y="489"/>
                  </a:cubicBezTo>
                  <a:cubicBezTo>
                    <a:pt x="732" y="502"/>
                    <a:pt x="726" y="502"/>
                    <a:pt x="715" y="503"/>
                  </a:cubicBezTo>
                  <a:cubicBezTo>
                    <a:pt x="714" y="495"/>
                    <a:pt x="726" y="489"/>
                    <a:pt x="722" y="482"/>
                  </a:cubicBezTo>
                  <a:cubicBezTo>
                    <a:pt x="717" y="473"/>
                    <a:pt x="702" y="477"/>
                    <a:pt x="698" y="483"/>
                  </a:cubicBezTo>
                  <a:cubicBezTo>
                    <a:pt x="696" y="480"/>
                    <a:pt x="693" y="480"/>
                    <a:pt x="691" y="476"/>
                  </a:cubicBezTo>
                  <a:cubicBezTo>
                    <a:pt x="686" y="480"/>
                    <a:pt x="681" y="486"/>
                    <a:pt x="674" y="487"/>
                  </a:cubicBezTo>
                  <a:cubicBezTo>
                    <a:pt x="673" y="477"/>
                    <a:pt x="686" y="453"/>
                    <a:pt x="665" y="457"/>
                  </a:cubicBezTo>
                  <a:cubicBezTo>
                    <a:pt x="664" y="459"/>
                    <a:pt x="666" y="459"/>
                    <a:pt x="666" y="461"/>
                  </a:cubicBezTo>
                  <a:cubicBezTo>
                    <a:pt x="665" y="461"/>
                    <a:pt x="662" y="463"/>
                    <a:pt x="661" y="463"/>
                  </a:cubicBezTo>
                  <a:cubicBezTo>
                    <a:pt x="660" y="467"/>
                    <a:pt x="658" y="472"/>
                    <a:pt x="657" y="476"/>
                  </a:cubicBezTo>
                  <a:cubicBezTo>
                    <a:pt x="651" y="473"/>
                    <a:pt x="649" y="463"/>
                    <a:pt x="642" y="462"/>
                  </a:cubicBezTo>
                  <a:cubicBezTo>
                    <a:pt x="639" y="461"/>
                    <a:pt x="630" y="466"/>
                    <a:pt x="627" y="467"/>
                  </a:cubicBezTo>
                  <a:cubicBezTo>
                    <a:pt x="635" y="453"/>
                    <a:pt x="632" y="448"/>
                    <a:pt x="618" y="442"/>
                  </a:cubicBezTo>
                  <a:cubicBezTo>
                    <a:pt x="616" y="441"/>
                    <a:pt x="604" y="438"/>
                    <a:pt x="604" y="438"/>
                  </a:cubicBezTo>
                  <a:cubicBezTo>
                    <a:pt x="602" y="437"/>
                    <a:pt x="600" y="435"/>
                    <a:pt x="598" y="434"/>
                  </a:cubicBezTo>
                  <a:cubicBezTo>
                    <a:pt x="590" y="439"/>
                    <a:pt x="585" y="431"/>
                    <a:pt x="578" y="439"/>
                  </a:cubicBezTo>
                  <a:cubicBezTo>
                    <a:pt x="571" y="446"/>
                    <a:pt x="577" y="456"/>
                    <a:pt x="576" y="464"/>
                  </a:cubicBezTo>
                  <a:cubicBezTo>
                    <a:pt x="570" y="464"/>
                    <a:pt x="566" y="459"/>
                    <a:pt x="564" y="453"/>
                  </a:cubicBezTo>
                  <a:cubicBezTo>
                    <a:pt x="555" y="457"/>
                    <a:pt x="563" y="467"/>
                    <a:pt x="554" y="472"/>
                  </a:cubicBezTo>
                  <a:cubicBezTo>
                    <a:pt x="547" y="459"/>
                    <a:pt x="557" y="447"/>
                    <a:pt x="549" y="432"/>
                  </a:cubicBezTo>
                  <a:cubicBezTo>
                    <a:pt x="545" y="425"/>
                    <a:pt x="541" y="412"/>
                    <a:pt x="533" y="408"/>
                  </a:cubicBezTo>
                  <a:cubicBezTo>
                    <a:pt x="519" y="403"/>
                    <a:pt x="515" y="419"/>
                    <a:pt x="509" y="419"/>
                  </a:cubicBezTo>
                  <a:cubicBezTo>
                    <a:pt x="491" y="419"/>
                    <a:pt x="493" y="445"/>
                    <a:pt x="495" y="456"/>
                  </a:cubicBezTo>
                  <a:cubicBezTo>
                    <a:pt x="497" y="468"/>
                    <a:pt x="498" y="466"/>
                    <a:pt x="494" y="479"/>
                  </a:cubicBezTo>
                  <a:cubicBezTo>
                    <a:pt x="502" y="487"/>
                    <a:pt x="511" y="500"/>
                    <a:pt x="508" y="511"/>
                  </a:cubicBezTo>
                  <a:cubicBezTo>
                    <a:pt x="490" y="501"/>
                    <a:pt x="485" y="481"/>
                    <a:pt x="481" y="463"/>
                  </a:cubicBezTo>
                  <a:cubicBezTo>
                    <a:pt x="479" y="450"/>
                    <a:pt x="477" y="452"/>
                    <a:pt x="481" y="438"/>
                  </a:cubicBezTo>
                  <a:cubicBezTo>
                    <a:pt x="484" y="429"/>
                    <a:pt x="488" y="420"/>
                    <a:pt x="489" y="410"/>
                  </a:cubicBezTo>
                  <a:cubicBezTo>
                    <a:pt x="469" y="416"/>
                    <a:pt x="455" y="422"/>
                    <a:pt x="448" y="443"/>
                  </a:cubicBezTo>
                  <a:cubicBezTo>
                    <a:pt x="444" y="456"/>
                    <a:pt x="437" y="508"/>
                    <a:pt x="446" y="516"/>
                  </a:cubicBezTo>
                  <a:cubicBezTo>
                    <a:pt x="457" y="525"/>
                    <a:pt x="474" y="514"/>
                    <a:pt x="481" y="531"/>
                  </a:cubicBezTo>
                  <a:cubicBezTo>
                    <a:pt x="471" y="534"/>
                    <a:pt x="465" y="528"/>
                    <a:pt x="455" y="530"/>
                  </a:cubicBezTo>
                  <a:cubicBezTo>
                    <a:pt x="455" y="536"/>
                    <a:pt x="460" y="555"/>
                    <a:pt x="466" y="557"/>
                  </a:cubicBezTo>
                  <a:cubicBezTo>
                    <a:pt x="470" y="559"/>
                    <a:pt x="491" y="550"/>
                    <a:pt x="489" y="547"/>
                  </a:cubicBezTo>
                  <a:cubicBezTo>
                    <a:pt x="498" y="569"/>
                    <a:pt x="567" y="562"/>
                    <a:pt x="578" y="549"/>
                  </a:cubicBezTo>
                  <a:cubicBezTo>
                    <a:pt x="609" y="559"/>
                    <a:pt x="579" y="533"/>
                    <a:pt x="582" y="526"/>
                  </a:cubicBezTo>
                  <a:cubicBezTo>
                    <a:pt x="588" y="527"/>
                    <a:pt x="598" y="525"/>
                    <a:pt x="603" y="528"/>
                  </a:cubicBezTo>
                  <a:cubicBezTo>
                    <a:pt x="608" y="531"/>
                    <a:pt x="609" y="539"/>
                    <a:pt x="613" y="543"/>
                  </a:cubicBezTo>
                  <a:cubicBezTo>
                    <a:pt x="622" y="553"/>
                    <a:pt x="638" y="556"/>
                    <a:pt x="647" y="566"/>
                  </a:cubicBezTo>
                  <a:cubicBezTo>
                    <a:pt x="641" y="574"/>
                    <a:pt x="636" y="579"/>
                    <a:pt x="643" y="588"/>
                  </a:cubicBezTo>
                  <a:cubicBezTo>
                    <a:pt x="650" y="584"/>
                    <a:pt x="651" y="573"/>
                    <a:pt x="658" y="567"/>
                  </a:cubicBezTo>
                  <a:cubicBezTo>
                    <a:pt x="664" y="569"/>
                    <a:pt x="670" y="573"/>
                    <a:pt x="673" y="579"/>
                  </a:cubicBezTo>
                  <a:cubicBezTo>
                    <a:pt x="674" y="579"/>
                    <a:pt x="676" y="578"/>
                    <a:pt x="677" y="578"/>
                  </a:cubicBezTo>
                  <a:cubicBezTo>
                    <a:pt x="687" y="595"/>
                    <a:pt x="704" y="596"/>
                    <a:pt x="716" y="610"/>
                  </a:cubicBezTo>
                  <a:cubicBezTo>
                    <a:pt x="724" y="619"/>
                    <a:pt x="724" y="620"/>
                    <a:pt x="721" y="632"/>
                  </a:cubicBezTo>
                  <a:cubicBezTo>
                    <a:pt x="719" y="639"/>
                    <a:pt x="707" y="647"/>
                    <a:pt x="720" y="653"/>
                  </a:cubicBezTo>
                  <a:cubicBezTo>
                    <a:pt x="720" y="665"/>
                    <a:pt x="704" y="671"/>
                    <a:pt x="705" y="686"/>
                  </a:cubicBezTo>
                  <a:cubicBezTo>
                    <a:pt x="714" y="685"/>
                    <a:pt x="723" y="686"/>
                    <a:pt x="729" y="694"/>
                  </a:cubicBezTo>
                  <a:cubicBezTo>
                    <a:pt x="723" y="700"/>
                    <a:pt x="715" y="707"/>
                    <a:pt x="707" y="709"/>
                  </a:cubicBezTo>
                  <a:cubicBezTo>
                    <a:pt x="707" y="713"/>
                    <a:pt x="703" y="716"/>
                    <a:pt x="702" y="719"/>
                  </a:cubicBezTo>
                  <a:cubicBezTo>
                    <a:pt x="685" y="714"/>
                    <a:pt x="670" y="712"/>
                    <a:pt x="667" y="732"/>
                  </a:cubicBezTo>
                  <a:cubicBezTo>
                    <a:pt x="657" y="732"/>
                    <a:pt x="656" y="740"/>
                    <a:pt x="658" y="748"/>
                  </a:cubicBezTo>
                  <a:cubicBezTo>
                    <a:pt x="664" y="748"/>
                    <a:pt x="668" y="753"/>
                    <a:pt x="668" y="758"/>
                  </a:cubicBezTo>
                  <a:cubicBezTo>
                    <a:pt x="681" y="760"/>
                    <a:pt x="685" y="763"/>
                    <a:pt x="697" y="755"/>
                  </a:cubicBezTo>
                  <a:cubicBezTo>
                    <a:pt x="703" y="750"/>
                    <a:pt x="711" y="732"/>
                    <a:pt x="720" y="743"/>
                  </a:cubicBezTo>
                  <a:cubicBezTo>
                    <a:pt x="730" y="724"/>
                    <a:pt x="750" y="742"/>
                    <a:pt x="760" y="749"/>
                  </a:cubicBezTo>
                  <a:cubicBezTo>
                    <a:pt x="764" y="752"/>
                    <a:pt x="764" y="756"/>
                    <a:pt x="768" y="758"/>
                  </a:cubicBezTo>
                  <a:cubicBezTo>
                    <a:pt x="772" y="759"/>
                    <a:pt x="777" y="755"/>
                    <a:pt x="781" y="756"/>
                  </a:cubicBezTo>
                  <a:cubicBezTo>
                    <a:pt x="790" y="759"/>
                    <a:pt x="792" y="762"/>
                    <a:pt x="793" y="774"/>
                  </a:cubicBezTo>
                  <a:cubicBezTo>
                    <a:pt x="798" y="775"/>
                    <a:pt x="805" y="776"/>
                    <a:pt x="810" y="776"/>
                  </a:cubicBezTo>
                  <a:cubicBezTo>
                    <a:pt x="814" y="776"/>
                    <a:pt x="822" y="771"/>
                    <a:pt x="825" y="772"/>
                  </a:cubicBezTo>
                  <a:cubicBezTo>
                    <a:pt x="833" y="773"/>
                    <a:pt x="838" y="782"/>
                    <a:pt x="845" y="784"/>
                  </a:cubicBezTo>
                  <a:cubicBezTo>
                    <a:pt x="856" y="788"/>
                    <a:pt x="863" y="781"/>
                    <a:pt x="872" y="780"/>
                  </a:cubicBezTo>
                  <a:cubicBezTo>
                    <a:pt x="884" y="778"/>
                    <a:pt x="896" y="781"/>
                    <a:pt x="908" y="780"/>
                  </a:cubicBezTo>
                  <a:cubicBezTo>
                    <a:pt x="904" y="749"/>
                    <a:pt x="848" y="756"/>
                    <a:pt x="830" y="732"/>
                  </a:cubicBezTo>
                  <a:close/>
                  <a:moveTo>
                    <a:pt x="686" y="797"/>
                  </a:moveTo>
                  <a:cubicBezTo>
                    <a:pt x="688" y="798"/>
                    <a:pt x="688" y="798"/>
                    <a:pt x="688" y="798"/>
                  </a:cubicBezTo>
                  <a:cubicBezTo>
                    <a:pt x="687" y="797"/>
                    <a:pt x="686" y="797"/>
                    <a:pt x="686" y="796"/>
                  </a:cubicBezTo>
                  <a:cubicBezTo>
                    <a:pt x="685" y="796"/>
                    <a:pt x="684" y="795"/>
                    <a:pt x="683" y="795"/>
                  </a:cubicBezTo>
                  <a:cubicBezTo>
                    <a:pt x="683" y="795"/>
                    <a:pt x="683" y="795"/>
                    <a:pt x="683" y="795"/>
                  </a:cubicBezTo>
                  <a:cubicBezTo>
                    <a:pt x="680" y="795"/>
                    <a:pt x="677" y="795"/>
                    <a:pt x="675" y="797"/>
                  </a:cubicBezTo>
                  <a:cubicBezTo>
                    <a:pt x="677" y="811"/>
                    <a:pt x="693" y="808"/>
                    <a:pt x="687" y="799"/>
                  </a:cubicBezTo>
                  <a:cubicBezTo>
                    <a:pt x="687" y="798"/>
                    <a:pt x="687" y="797"/>
                    <a:pt x="686" y="797"/>
                  </a:cubicBezTo>
                  <a:close/>
                  <a:moveTo>
                    <a:pt x="679" y="632"/>
                  </a:moveTo>
                  <a:cubicBezTo>
                    <a:pt x="681" y="622"/>
                    <a:pt x="676" y="623"/>
                    <a:pt x="674" y="616"/>
                  </a:cubicBezTo>
                  <a:cubicBezTo>
                    <a:pt x="673" y="610"/>
                    <a:pt x="676" y="598"/>
                    <a:pt x="666" y="601"/>
                  </a:cubicBezTo>
                  <a:cubicBezTo>
                    <a:pt x="668" y="601"/>
                    <a:pt x="668" y="601"/>
                    <a:pt x="668" y="601"/>
                  </a:cubicBezTo>
                  <a:cubicBezTo>
                    <a:pt x="659" y="601"/>
                    <a:pt x="650" y="602"/>
                    <a:pt x="647" y="611"/>
                  </a:cubicBezTo>
                  <a:cubicBezTo>
                    <a:pt x="645" y="617"/>
                    <a:pt x="648" y="635"/>
                    <a:pt x="649" y="643"/>
                  </a:cubicBezTo>
                  <a:cubicBezTo>
                    <a:pt x="658" y="650"/>
                    <a:pt x="677" y="642"/>
                    <a:pt x="679" y="632"/>
                  </a:cubicBezTo>
                  <a:close/>
                  <a:moveTo>
                    <a:pt x="661" y="846"/>
                  </a:moveTo>
                  <a:cubicBezTo>
                    <a:pt x="646" y="848"/>
                    <a:pt x="660" y="874"/>
                    <a:pt x="664" y="880"/>
                  </a:cubicBezTo>
                  <a:cubicBezTo>
                    <a:pt x="676" y="876"/>
                    <a:pt x="674" y="845"/>
                    <a:pt x="661" y="846"/>
                  </a:cubicBezTo>
                  <a:close/>
                  <a:moveTo>
                    <a:pt x="613" y="790"/>
                  </a:moveTo>
                  <a:cubicBezTo>
                    <a:pt x="611" y="790"/>
                    <a:pt x="611" y="790"/>
                    <a:pt x="609" y="790"/>
                  </a:cubicBezTo>
                  <a:cubicBezTo>
                    <a:pt x="608" y="775"/>
                    <a:pt x="600" y="776"/>
                    <a:pt x="592" y="765"/>
                  </a:cubicBezTo>
                  <a:cubicBezTo>
                    <a:pt x="586" y="764"/>
                    <a:pt x="582" y="756"/>
                    <a:pt x="577" y="752"/>
                  </a:cubicBezTo>
                  <a:cubicBezTo>
                    <a:pt x="570" y="748"/>
                    <a:pt x="561" y="746"/>
                    <a:pt x="555" y="743"/>
                  </a:cubicBezTo>
                  <a:cubicBezTo>
                    <a:pt x="548" y="769"/>
                    <a:pt x="539" y="732"/>
                    <a:pt x="532" y="733"/>
                  </a:cubicBezTo>
                  <a:cubicBezTo>
                    <a:pt x="526" y="733"/>
                    <a:pt x="521" y="754"/>
                    <a:pt x="528" y="757"/>
                  </a:cubicBezTo>
                  <a:cubicBezTo>
                    <a:pt x="529" y="757"/>
                    <a:pt x="530" y="758"/>
                    <a:pt x="532" y="758"/>
                  </a:cubicBezTo>
                  <a:cubicBezTo>
                    <a:pt x="531" y="770"/>
                    <a:pt x="535" y="783"/>
                    <a:pt x="531" y="795"/>
                  </a:cubicBezTo>
                  <a:cubicBezTo>
                    <a:pt x="528" y="806"/>
                    <a:pt x="519" y="813"/>
                    <a:pt x="516" y="824"/>
                  </a:cubicBezTo>
                  <a:cubicBezTo>
                    <a:pt x="524" y="825"/>
                    <a:pt x="534" y="817"/>
                    <a:pt x="541" y="818"/>
                  </a:cubicBezTo>
                  <a:cubicBezTo>
                    <a:pt x="553" y="821"/>
                    <a:pt x="540" y="837"/>
                    <a:pt x="554" y="842"/>
                  </a:cubicBezTo>
                  <a:cubicBezTo>
                    <a:pt x="563" y="837"/>
                    <a:pt x="571" y="819"/>
                    <a:pt x="575" y="810"/>
                  </a:cubicBezTo>
                  <a:cubicBezTo>
                    <a:pt x="587" y="789"/>
                    <a:pt x="585" y="799"/>
                    <a:pt x="603" y="806"/>
                  </a:cubicBezTo>
                  <a:cubicBezTo>
                    <a:pt x="609" y="809"/>
                    <a:pt x="620" y="811"/>
                    <a:pt x="626" y="812"/>
                  </a:cubicBezTo>
                  <a:cubicBezTo>
                    <a:pt x="631" y="806"/>
                    <a:pt x="640" y="800"/>
                    <a:pt x="635" y="792"/>
                  </a:cubicBezTo>
                  <a:cubicBezTo>
                    <a:pt x="630" y="786"/>
                    <a:pt x="618" y="789"/>
                    <a:pt x="613" y="790"/>
                  </a:cubicBezTo>
                  <a:close/>
                  <a:moveTo>
                    <a:pt x="607" y="836"/>
                  </a:moveTo>
                  <a:cubicBezTo>
                    <a:pt x="608" y="837"/>
                    <a:pt x="608" y="837"/>
                    <a:pt x="608" y="837"/>
                  </a:cubicBezTo>
                  <a:cubicBezTo>
                    <a:pt x="599" y="838"/>
                    <a:pt x="589" y="837"/>
                    <a:pt x="585" y="846"/>
                  </a:cubicBezTo>
                  <a:cubicBezTo>
                    <a:pt x="580" y="854"/>
                    <a:pt x="585" y="873"/>
                    <a:pt x="598" y="870"/>
                  </a:cubicBezTo>
                  <a:cubicBezTo>
                    <a:pt x="604" y="868"/>
                    <a:pt x="615" y="849"/>
                    <a:pt x="616" y="842"/>
                  </a:cubicBezTo>
                  <a:cubicBezTo>
                    <a:pt x="618" y="834"/>
                    <a:pt x="616" y="827"/>
                    <a:pt x="607" y="836"/>
                  </a:cubicBezTo>
                  <a:close/>
                  <a:moveTo>
                    <a:pt x="547" y="417"/>
                  </a:moveTo>
                  <a:cubicBezTo>
                    <a:pt x="548" y="420"/>
                    <a:pt x="552" y="425"/>
                    <a:pt x="555" y="431"/>
                  </a:cubicBezTo>
                  <a:cubicBezTo>
                    <a:pt x="564" y="448"/>
                    <a:pt x="562" y="439"/>
                    <a:pt x="575" y="432"/>
                  </a:cubicBezTo>
                  <a:cubicBezTo>
                    <a:pt x="581" y="428"/>
                    <a:pt x="585" y="431"/>
                    <a:pt x="592" y="430"/>
                  </a:cubicBezTo>
                  <a:cubicBezTo>
                    <a:pt x="609" y="428"/>
                    <a:pt x="601" y="415"/>
                    <a:pt x="591" y="407"/>
                  </a:cubicBezTo>
                  <a:cubicBezTo>
                    <a:pt x="582" y="401"/>
                    <a:pt x="565" y="402"/>
                    <a:pt x="555" y="405"/>
                  </a:cubicBezTo>
                  <a:cubicBezTo>
                    <a:pt x="546" y="408"/>
                    <a:pt x="545" y="412"/>
                    <a:pt x="547" y="417"/>
                  </a:cubicBezTo>
                  <a:close/>
                  <a:moveTo>
                    <a:pt x="480" y="741"/>
                  </a:moveTo>
                  <a:cubicBezTo>
                    <a:pt x="490" y="747"/>
                    <a:pt x="495" y="758"/>
                    <a:pt x="509" y="750"/>
                  </a:cubicBezTo>
                  <a:cubicBezTo>
                    <a:pt x="520" y="745"/>
                    <a:pt x="523" y="729"/>
                    <a:pt x="528" y="719"/>
                  </a:cubicBezTo>
                  <a:cubicBezTo>
                    <a:pt x="526" y="718"/>
                    <a:pt x="512" y="710"/>
                    <a:pt x="510" y="711"/>
                  </a:cubicBezTo>
                  <a:cubicBezTo>
                    <a:pt x="515" y="708"/>
                    <a:pt x="533" y="697"/>
                    <a:pt x="535" y="710"/>
                  </a:cubicBezTo>
                  <a:cubicBezTo>
                    <a:pt x="552" y="711"/>
                    <a:pt x="558" y="701"/>
                    <a:pt x="569" y="690"/>
                  </a:cubicBezTo>
                  <a:cubicBezTo>
                    <a:pt x="580" y="680"/>
                    <a:pt x="595" y="673"/>
                    <a:pt x="590" y="656"/>
                  </a:cubicBezTo>
                  <a:cubicBezTo>
                    <a:pt x="589" y="653"/>
                    <a:pt x="559" y="614"/>
                    <a:pt x="560" y="614"/>
                  </a:cubicBezTo>
                  <a:cubicBezTo>
                    <a:pt x="585" y="612"/>
                    <a:pt x="571" y="588"/>
                    <a:pt x="560" y="578"/>
                  </a:cubicBezTo>
                  <a:cubicBezTo>
                    <a:pt x="546" y="582"/>
                    <a:pt x="537" y="565"/>
                    <a:pt x="524" y="576"/>
                  </a:cubicBezTo>
                  <a:cubicBezTo>
                    <a:pt x="519" y="573"/>
                    <a:pt x="515" y="574"/>
                    <a:pt x="510" y="572"/>
                  </a:cubicBezTo>
                  <a:cubicBezTo>
                    <a:pt x="508" y="579"/>
                    <a:pt x="508" y="585"/>
                    <a:pt x="512" y="592"/>
                  </a:cubicBezTo>
                  <a:cubicBezTo>
                    <a:pt x="514" y="592"/>
                    <a:pt x="517" y="592"/>
                    <a:pt x="519" y="592"/>
                  </a:cubicBezTo>
                  <a:cubicBezTo>
                    <a:pt x="524" y="606"/>
                    <a:pt x="520" y="636"/>
                    <a:pt x="517" y="650"/>
                  </a:cubicBezTo>
                  <a:cubicBezTo>
                    <a:pt x="502" y="713"/>
                    <a:pt x="464" y="648"/>
                    <a:pt x="482" y="626"/>
                  </a:cubicBezTo>
                  <a:cubicBezTo>
                    <a:pt x="472" y="618"/>
                    <a:pt x="466" y="608"/>
                    <a:pt x="456" y="601"/>
                  </a:cubicBezTo>
                  <a:cubicBezTo>
                    <a:pt x="455" y="614"/>
                    <a:pt x="464" y="633"/>
                    <a:pt x="456" y="642"/>
                  </a:cubicBezTo>
                  <a:cubicBezTo>
                    <a:pt x="453" y="641"/>
                    <a:pt x="448" y="639"/>
                    <a:pt x="446" y="638"/>
                  </a:cubicBezTo>
                  <a:cubicBezTo>
                    <a:pt x="447" y="619"/>
                    <a:pt x="440" y="593"/>
                    <a:pt x="416" y="600"/>
                  </a:cubicBezTo>
                  <a:cubicBezTo>
                    <a:pt x="412" y="583"/>
                    <a:pt x="418" y="567"/>
                    <a:pt x="415" y="551"/>
                  </a:cubicBezTo>
                  <a:cubicBezTo>
                    <a:pt x="414" y="543"/>
                    <a:pt x="405" y="520"/>
                    <a:pt x="399" y="510"/>
                  </a:cubicBezTo>
                  <a:cubicBezTo>
                    <a:pt x="390" y="511"/>
                    <a:pt x="382" y="507"/>
                    <a:pt x="374" y="505"/>
                  </a:cubicBezTo>
                  <a:cubicBezTo>
                    <a:pt x="374" y="516"/>
                    <a:pt x="365" y="533"/>
                    <a:pt x="362" y="542"/>
                  </a:cubicBezTo>
                  <a:cubicBezTo>
                    <a:pt x="354" y="578"/>
                    <a:pt x="381" y="581"/>
                    <a:pt x="392" y="613"/>
                  </a:cubicBezTo>
                  <a:cubicBezTo>
                    <a:pt x="400" y="634"/>
                    <a:pt x="398" y="627"/>
                    <a:pt x="384" y="647"/>
                  </a:cubicBezTo>
                  <a:cubicBezTo>
                    <a:pt x="374" y="661"/>
                    <a:pt x="374" y="667"/>
                    <a:pt x="369" y="686"/>
                  </a:cubicBezTo>
                  <a:cubicBezTo>
                    <a:pt x="368" y="689"/>
                    <a:pt x="359" y="679"/>
                    <a:pt x="359" y="678"/>
                  </a:cubicBezTo>
                  <a:cubicBezTo>
                    <a:pt x="353" y="668"/>
                    <a:pt x="355" y="655"/>
                    <a:pt x="363" y="646"/>
                  </a:cubicBezTo>
                  <a:cubicBezTo>
                    <a:pt x="358" y="652"/>
                    <a:pt x="347" y="642"/>
                    <a:pt x="345" y="641"/>
                  </a:cubicBezTo>
                  <a:cubicBezTo>
                    <a:pt x="333" y="636"/>
                    <a:pt x="323" y="641"/>
                    <a:pt x="326" y="656"/>
                  </a:cubicBezTo>
                  <a:cubicBezTo>
                    <a:pt x="336" y="654"/>
                    <a:pt x="337" y="658"/>
                    <a:pt x="344" y="662"/>
                  </a:cubicBezTo>
                  <a:cubicBezTo>
                    <a:pt x="333" y="677"/>
                    <a:pt x="326" y="664"/>
                    <a:pt x="315" y="663"/>
                  </a:cubicBezTo>
                  <a:cubicBezTo>
                    <a:pt x="302" y="661"/>
                    <a:pt x="288" y="667"/>
                    <a:pt x="276" y="664"/>
                  </a:cubicBezTo>
                  <a:cubicBezTo>
                    <a:pt x="255" y="659"/>
                    <a:pt x="206" y="599"/>
                    <a:pt x="187" y="642"/>
                  </a:cubicBezTo>
                  <a:cubicBezTo>
                    <a:pt x="185" y="645"/>
                    <a:pt x="185" y="682"/>
                    <a:pt x="185" y="682"/>
                  </a:cubicBezTo>
                  <a:cubicBezTo>
                    <a:pt x="179" y="682"/>
                    <a:pt x="177" y="680"/>
                    <a:pt x="173" y="676"/>
                  </a:cubicBezTo>
                  <a:cubicBezTo>
                    <a:pt x="189" y="627"/>
                    <a:pt x="98" y="630"/>
                    <a:pt x="75" y="608"/>
                  </a:cubicBezTo>
                  <a:cubicBezTo>
                    <a:pt x="78" y="602"/>
                    <a:pt x="79" y="601"/>
                    <a:pt x="85" y="600"/>
                  </a:cubicBezTo>
                  <a:cubicBezTo>
                    <a:pt x="100" y="610"/>
                    <a:pt x="101" y="587"/>
                    <a:pt x="95" y="578"/>
                  </a:cubicBezTo>
                  <a:cubicBezTo>
                    <a:pt x="88" y="568"/>
                    <a:pt x="73" y="567"/>
                    <a:pt x="62" y="566"/>
                  </a:cubicBezTo>
                  <a:cubicBezTo>
                    <a:pt x="54" y="550"/>
                    <a:pt x="40" y="538"/>
                    <a:pt x="26" y="526"/>
                  </a:cubicBezTo>
                  <a:cubicBezTo>
                    <a:pt x="25" y="527"/>
                    <a:pt x="24" y="527"/>
                    <a:pt x="23" y="528"/>
                  </a:cubicBezTo>
                  <a:cubicBezTo>
                    <a:pt x="13" y="535"/>
                    <a:pt x="0" y="566"/>
                    <a:pt x="1" y="578"/>
                  </a:cubicBezTo>
                  <a:cubicBezTo>
                    <a:pt x="2" y="597"/>
                    <a:pt x="23" y="607"/>
                    <a:pt x="35" y="621"/>
                  </a:cubicBezTo>
                  <a:cubicBezTo>
                    <a:pt x="49" y="637"/>
                    <a:pt x="43" y="655"/>
                    <a:pt x="56" y="670"/>
                  </a:cubicBezTo>
                  <a:cubicBezTo>
                    <a:pt x="68" y="683"/>
                    <a:pt x="76" y="704"/>
                    <a:pt x="88" y="715"/>
                  </a:cubicBezTo>
                  <a:cubicBezTo>
                    <a:pt x="97" y="723"/>
                    <a:pt x="111" y="718"/>
                    <a:pt x="119" y="726"/>
                  </a:cubicBezTo>
                  <a:cubicBezTo>
                    <a:pt x="126" y="732"/>
                    <a:pt x="125" y="746"/>
                    <a:pt x="127" y="755"/>
                  </a:cubicBezTo>
                  <a:cubicBezTo>
                    <a:pt x="144" y="761"/>
                    <a:pt x="163" y="765"/>
                    <a:pt x="181" y="771"/>
                  </a:cubicBezTo>
                  <a:cubicBezTo>
                    <a:pt x="207" y="779"/>
                    <a:pt x="250" y="805"/>
                    <a:pt x="250" y="805"/>
                  </a:cubicBezTo>
                  <a:cubicBezTo>
                    <a:pt x="250" y="805"/>
                    <a:pt x="248" y="867"/>
                    <a:pt x="243" y="893"/>
                  </a:cubicBezTo>
                  <a:cubicBezTo>
                    <a:pt x="240" y="916"/>
                    <a:pt x="236" y="940"/>
                    <a:pt x="234" y="963"/>
                  </a:cubicBezTo>
                  <a:cubicBezTo>
                    <a:pt x="282" y="969"/>
                    <a:pt x="332" y="973"/>
                    <a:pt x="384" y="974"/>
                  </a:cubicBezTo>
                  <a:cubicBezTo>
                    <a:pt x="391" y="939"/>
                    <a:pt x="406" y="900"/>
                    <a:pt x="426" y="872"/>
                  </a:cubicBezTo>
                  <a:cubicBezTo>
                    <a:pt x="434" y="862"/>
                    <a:pt x="464" y="858"/>
                    <a:pt x="448" y="840"/>
                  </a:cubicBezTo>
                  <a:cubicBezTo>
                    <a:pt x="439" y="829"/>
                    <a:pt x="411" y="827"/>
                    <a:pt x="398" y="826"/>
                  </a:cubicBezTo>
                  <a:cubicBezTo>
                    <a:pt x="397" y="806"/>
                    <a:pt x="434" y="824"/>
                    <a:pt x="443" y="827"/>
                  </a:cubicBezTo>
                  <a:cubicBezTo>
                    <a:pt x="453" y="831"/>
                    <a:pt x="457" y="835"/>
                    <a:pt x="466" y="822"/>
                  </a:cubicBezTo>
                  <a:cubicBezTo>
                    <a:pt x="472" y="813"/>
                    <a:pt x="475" y="809"/>
                    <a:pt x="489" y="813"/>
                  </a:cubicBezTo>
                  <a:cubicBezTo>
                    <a:pt x="496" y="804"/>
                    <a:pt x="503" y="790"/>
                    <a:pt x="508" y="779"/>
                  </a:cubicBezTo>
                  <a:cubicBezTo>
                    <a:pt x="510" y="773"/>
                    <a:pt x="512" y="765"/>
                    <a:pt x="506" y="761"/>
                  </a:cubicBezTo>
                  <a:cubicBezTo>
                    <a:pt x="499" y="756"/>
                    <a:pt x="494" y="762"/>
                    <a:pt x="488" y="762"/>
                  </a:cubicBezTo>
                  <a:cubicBezTo>
                    <a:pt x="472" y="762"/>
                    <a:pt x="459" y="745"/>
                    <a:pt x="446" y="738"/>
                  </a:cubicBezTo>
                  <a:cubicBezTo>
                    <a:pt x="454" y="742"/>
                    <a:pt x="470" y="736"/>
                    <a:pt x="480" y="741"/>
                  </a:cubicBezTo>
                  <a:close/>
                  <a:moveTo>
                    <a:pt x="415" y="112"/>
                  </a:moveTo>
                  <a:cubicBezTo>
                    <a:pt x="420" y="116"/>
                    <a:pt x="434" y="108"/>
                    <a:pt x="441" y="105"/>
                  </a:cubicBezTo>
                  <a:cubicBezTo>
                    <a:pt x="438" y="115"/>
                    <a:pt x="431" y="131"/>
                    <a:pt x="446" y="132"/>
                  </a:cubicBezTo>
                  <a:cubicBezTo>
                    <a:pt x="453" y="133"/>
                    <a:pt x="466" y="124"/>
                    <a:pt x="472" y="120"/>
                  </a:cubicBezTo>
                  <a:cubicBezTo>
                    <a:pt x="476" y="117"/>
                    <a:pt x="490" y="100"/>
                    <a:pt x="492" y="112"/>
                  </a:cubicBezTo>
                  <a:cubicBezTo>
                    <a:pt x="494" y="124"/>
                    <a:pt x="472" y="126"/>
                    <a:pt x="470" y="134"/>
                  </a:cubicBezTo>
                  <a:cubicBezTo>
                    <a:pt x="468" y="141"/>
                    <a:pt x="482" y="155"/>
                    <a:pt x="483" y="165"/>
                  </a:cubicBezTo>
                  <a:cubicBezTo>
                    <a:pt x="469" y="161"/>
                    <a:pt x="466" y="148"/>
                    <a:pt x="454" y="145"/>
                  </a:cubicBezTo>
                  <a:cubicBezTo>
                    <a:pt x="436" y="140"/>
                    <a:pt x="440" y="156"/>
                    <a:pt x="448" y="165"/>
                  </a:cubicBezTo>
                  <a:cubicBezTo>
                    <a:pt x="451" y="169"/>
                    <a:pt x="456" y="171"/>
                    <a:pt x="459" y="176"/>
                  </a:cubicBezTo>
                  <a:cubicBezTo>
                    <a:pt x="462" y="182"/>
                    <a:pt x="460" y="187"/>
                    <a:pt x="466" y="192"/>
                  </a:cubicBezTo>
                  <a:cubicBezTo>
                    <a:pt x="470" y="195"/>
                    <a:pt x="481" y="192"/>
                    <a:pt x="481" y="199"/>
                  </a:cubicBezTo>
                  <a:cubicBezTo>
                    <a:pt x="481" y="207"/>
                    <a:pt x="471" y="205"/>
                    <a:pt x="467" y="206"/>
                  </a:cubicBezTo>
                  <a:cubicBezTo>
                    <a:pt x="449" y="208"/>
                    <a:pt x="441" y="215"/>
                    <a:pt x="441" y="235"/>
                  </a:cubicBezTo>
                  <a:cubicBezTo>
                    <a:pt x="446" y="241"/>
                    <a:pt x="449" y="236"/>
                    <a:pt x="455" y="238"/>
                  </a:cubicBezTo>
                  <a:cubicBezTo>
                    <a:pt x="464" y="241"/>
                    <a:pt x="457" y="240"/>
                    <a:pt x="462" y="247"/>
                  </a:cubicBezTo>
                  <a:cubicBezTo>
                    <a:pt x="470" y="256"/>
                    <a:pt x="471" y="245"/>
                    <a:pt x="478" y="248"/>
                  </a:cubicBezTo>
                  <a:cubicBezTo>
                    <a:pt x="489" y="253"/>
                    <a:pt x="479" y="260"/>
                    <a:pt x="471" y="260"/>
                  </a:cubicBezTo>
                  <a:cubicBezTo>
                    <a:pt x="463" y="260"/>
                    <a:pt x="462" y="257"/>
                    <a:pt x="456" y="253"/>
                  </a:cubicBezTo>
                  <a:cubicBezTo>
                    <a:pt x="456" y="252"/>
                    <a:pt x="456" y="250"/>
                    <a:pt x="456" y="249"/>
                  </a:cubicBezTo>
                  <a:cubicBezTo>
                    <a:pt x="443" y="244"/>
                    <a:pt x="442" y="255"/>
                    <a:pt x="439" y="264"/>
                  </a:cubicBezTo>
                  <a:cubicBezTo>
                    <a:pt x="463" y="274"/>
                    <a:pt x="420" y="287"/>
                    <a:pt x="439" y="306"/>
                  </a:cubicBezTo>
                  <a:cubicBezTo>
                    <a:pt x="447" y="306"/>
                    <a:pt x="457" y="305"/>
                    <a:pt x="464" y="306"/>
                  </a:cubicBezTo>
                  <a:cubicBezTo>
                    <a:pt x="471" y="306"/>
                    <a:pt x="475" y="311"/>
                    <a:pt x="480" y="300"/>
                  </a:cubicBezTo>
                  <a:cubicBezTo>
                    <a:pt x="490" y="304"/>
                    <a:pt x="500" y="294"/>
                    <a:pt x="512" y="293"/>
                  </a:cubicBezTo>
                  <a:cubicBezTo>
                    <a:pt x="512" y="298"/>
                    <a:pt x="512" y="303"/>
                    <a:pt x="514" y="307"/>
                  </a:cubicBezTo>
                  <a:cubicBezTo>
                    <a:pt x="521" y="301"/>
                    <a:pt x="555" y="272"/>
                    <a:pt x="533" y="266"/>
                  </a:cubicBezTo>
                  <a:cubicBezTo>
                    <a:pt x="530" y="271"/>
                    <a:pt x="527" y="273"/>
                    <a:pt x="522" y="273"/>
                  </a:cubicBezTo>
                  <a:cubicBezTo>
                    <a:pt x="522" y="271"/>
                    <a:pt x="522" y="270"/>
                    <a:pt x="523" y="268"/>
                  </a:cubicBezTo>
                  <a:cubicBezTo>
                    <a:pt x="514" y="262"/>
                    <a:pt x="499" y="269"/>
                    <a:pt x="496" y="254"/>
                  </a:cubicBezTo>
                  <a:cubicBezTo>
                    <a:pt x="506" y="254"/>
                    <a:pt x="512" y="262"/>
                    <a:pt x="523" y="254"/>
                  </a:cubicBezTo>
                  <a:cubicBezTo>
                    <a:pt x="533" y="245"/>
                    <a:pt x="522" y="240"/>
                    <a:pt x="526" y="228"/>
                  </a:cubicBezTo>
                  <a:cubicBezTo>
                    <a:pt x="532" y="227"/>
                    <a:pt x="550" y="219"/>
                    <a:pt x="534" y="218"/>
                  </a:cubicBezTo>
                  <a:cubicBezTo>
                    <a:pt x="533" y="208"/>
                    <a:pt x="546" y="215"/>
                    <a:pt x="544" y="203"/>
                  </a:cubicBezTo>
                  <a:cubicBezTo>
                    <a:pt x="541" y="203"/>
                    <a:pt x="538" y="201"/>
                    <a:pt x="535" y="202"/>
                  </a:cubicBezTo>
                  <a:cubicBezTo>
                    <a:pt x="540" y="195"/>
                    <a:pt x="543" y="190"/>
                    <a:pt x="533" y="184"/>
                  </a:cubicBezTo>
                  <a:cubicBezTo>
                    <a:pt x="529" y="184"/>
                    <a:pt x="526" y="183"/>
                    <a:pt x="523" y="182"/>
                  </a:cubicBezTo>
                  <a:cubicBezTo>
                    <a:pt x="523" y="179"/>
                    <a:pt x="522" y="180"/>
                    <a:pt x="521" y="179"/>
                  </a:cubicBezTo>
                  <a:cubicBezTo>
                    <a:pt x="521" y="174"/>
                    <a:pt x="518" y="173"/>
                    <a:pt x="513" y="174"/>
                  </a:cubicBezTo>
                  <a:cubicBezTo>
                    <a:pt x="517" y="168"/>
                    <a:pt x="523" y="169"/>
                    <a:pt x="527" y="165"/>
                  </a:cubicBezTo>
                  <a:cubicBezTo>
                    <a:pt x="530" y="163"/>
                    <a:pt x="533" y="151"/>
                    <a:pt x="534" y="147"/>
                  </a:cubicBezTo>
                  <a:cubicBezTo>
                    <a:pt x="534" y="148"/>
                    <a:pt x="550" y="143"/>
                    <a:pt x="551" y="142"/>
                  </a:cubicBezTo>
                  <a:cubicBezTo>
                    <a:pt x="557" y="136"/>
                    <a:pt x="554" y="124"/>
                    <a:pt x="546" y="122"/>
                  </a:cubicBezTo>
                  <a:cubicBezTo>
                    <a:pt x="550" y="114"/>
                    <a:pt x="554" y="111"/>
                    <a:pt x="556" y="102"/>
                  </a:cubicBezTo>
                  <a:cubicBezTo>
                    <a:pt x="557" y="95"/>
                    <a:pt x="558" y="88"/>
                    <a:pt x="561" y="80"/>
                  </a:cubicBezTo>
                  <a:cubicBezTo>
                    <a:pt x="561" y="80"/>
                    <a:pt x="562" y="80"/>
                    <a:pt x="562" y="81"/>
                  </a:cubicBezTo>
                  <a:cubicBezTo>
                    <a:pt x="564" y="77"/>
                    <a:pt x="564" y="58"/>
                    <a:pt x="564" y="54"/>
                  </a:cubicBezTo>
                  <a:cubicBezTo>
                    <a:pt x="553" y="56"/>
                    <a:pt x="553" y="74"/>
                    <a:pt x="543" y="78"/>
                  </a:cubicBezTo>
                  <a:cubicBezTo>
                    <a:pt x="542" y="68"/>
                    <a:pt x="543" y="60"/>
                    <a:pt x="540" y="51"/>
                  </a:cubicBezTo>
                  <a:cubicBezTo>
                    <a:pt x="543" y="51"/>
                    <a:pt x="545" y="51"/>
                    <a:pt x="549" y="53"/>
                  </a:cubicBezTo>
                  <a:cubicBezTo>
                    <a:pt x="558" y="42"/>
                    <a:pt x="567" y="22"/>
                    <a:pt x="553" y="10"/>
                  </a:cubicBezTo>
                  <a:cubicBezTo>
                    <a:pt x="542" y="1"/>
                    <a:pt x="529" y="18"/>
                    <a:pt x="521" y="11"/>
                  </a:cubicBezTo>
                  <a:cubicBezTo>
                    <a:pt x="516" y="7"/>
                    <a:pt x="523" y="5"/>
                    <a:pt x="515" y="1"/>
                  </a:cubicBezTo>
                  <a:cubicBezTo>
                    <a:pt x="510" y="0"/>
                    <a:pt x="506" y="2"/>
                    <a:pt x="502" y="4"/>
                  </a:cubicBezTo>
                  <a:cubicBezTo>
                    <a:pt x="497" y="6"/>
                    <a:pt x="484" y="10"/>
                    <a:pt x="480" y="13"/>
                  </a:cubicBezTo>
                  <a:cubicBezTo>
                    <a:pt x="475" y="17"/>
                    <a:pt x="477" y="18"/>
                    <a:pt x="475" y="24"/>
                  </a:cubicBezTo>
                  <a:cubicBezTo>
                    <a:pt x="472" y="29"/>
                    <a:pt x="466" y="31"/>
                    <a:pt x="461" y="29"/>
                  </a:cubicBezTo>
                  <a:cubicBezTo>
                    <a:pt x="456" y="35"/>
                    <a:pt x="455" y="39"/>
                    <a:pt x="452" y="46"/>
                  </a:cubicBezTo>
                  <a:cubicBezTo>
                    <a:pt x="447" y="56"/>
                    <a:pt x="446" y="56"/>
                    <a:pt x="435" y="51"/>
                  </a:cubicBezTo>
                  <a:cubicBezTo>
                    <a:pt x="433" y="52"/>
                    <a:pt x="431" y="56"/>
                    <a:pt x="430" y="58"/>
                  </a:cubicBezTo>
                  <a:cubicBezTo>
                    <a:pt x="432" y="61"/>
                    <a:pt x="434" y="65"/>
                    <a:pt x="436" y="68"/>
                  </a:cubicBezTo>
                  <a:cubicBezTo>
                    <a:pt x="435" y="69"/>
                    <a:pt x="434" y="70"/>
                    <a:pt x="433" y="71"/>
                  </a:cubicBezTo>
                  <a:cubicBezTo>
                    <a:pt x="424" y="66"/>
                    <a:pt x="424" y="72"/>
                    <a:pt x="418" y="76"/>
                  </a:cubicBezTo>
                  <a:cubicBezTo>
                    <a:pt x="413" y="79"/>
                    <a:pt x="407" y="79"/>
                    <a:pt x="402" y="83"/>
                  </a:cubicBezTo>
                  <a:cubicBezTo>
                    <a:pt x="401" y="84"/>
                    <a:pt x="401" y="88"/>
                    <a:pt x="401" y="89"/>
                  </a:cubicBezTo>
                  <a:cubicBezTo>
                    <a:pt x="415" y="89"/>
                    <a:pt x="406" y="106"/>
                    <a:pt x="415" y="112"/>
                  </a:cubicBezTo>
                  <a:close/>
                  <a:moveTo>
                    <a:pt x="459" y="386"/>
                  </a:moveTo>
                  <a:cubicBezTo>
                    <a:pt x="466" y="388"/>
                    <a:pt x="476" y="385"/>
                    <a:pt x="483" y="384"/>
                  </a:cubicBezTo>
                  <a:cubicBezTo>
                    <a:pt x="493" y="382"/>
                    <a:pt x="500" y="373"/>
                    <a:pt x="510" y="372"/>
                  </a:cubicBezTo>
                  <a:cubicBezTo>
                    <a:pt x="516" y="371"/>
                    <a:pt x="518" y="378"/>
                    <a:pt x="526" y="374"/>
                  </a:cubicBezTo>
                  <a:cubicBezTo>
                    <a:pt x="536" y="370"/>
                    <a:pt x="537" y="357"/>
                    <a:pt x="533" y="348"/>
                  </a:cubicBezTo>
                  <a:cubicBezTo>
                    <a:pt x="531" y="343"/>
                    <a:pt x="538" y="338"/>
                    <a:pt x="532" y="331"/>
                  </a:cubicBezTo>
                  <a:cubicBezTo>
                    <a:pt x="527" y="326"/>
                    <a:pt x="522" y="327"/>
                    <a:pt x="516" y="326"/>
                  </a:cubicBezTo>
                  <a:cubicBezTo>
                    <a:pt x="508" y="325"/>
                    <a:pt x="497" y="326"/>
                    <a:pt x="490" y="329"/>
                  </a:cubicBezTo>
                  <a:cubicBezTo>
                    <a:pt x="486" y="331"/>
                    <a:pt x="484" y="335"/>
                    <a:pt x="481" y="336"/>
                  </a:cubicBezTo>
                  <a:cubicBezTo>
                    <a:pt x="479" y="336"/>
                    <a:pt x="474" y="336"/>
                    <a:pt x="473" y="336"/>
                  </a:cubicBezTo>
                  <a:cubicBezTo>
                    <a:pt x="464" y="340"/>
                    <a:pt x="464" y="344"/>
                    <a:pt x="454" y="344"/>
                  </a:cubicBezTo>
                  <a:cubicBezTo>
                    <a:pt x="439" y="345"/>
                    <a:pt x="445" y="338"/>
                    <a:pt x="437" y="333"/>
                  </a:cubicBezTo>
                  <a:cubicBezTo>
                    <a:pt x="429" y="328"/>
                    <a:pt x="420" y="338"/>
                    <a:pt x="419" y="326"/>
                  </a:cubicBezTo>
                  <a:cubicBezTo>
                    <a:pt x="418" y="318"/>
                    <a:pt x="428" y="316"/>
                    <a:pt x="426" y="309"/>
                  </a:cubicBezTo>
                  <a:cubicBezTo>
                    <a:pt x="426" y="310"/>
                    <a:pt x="412" y="300"/>
                    <a:pt x="413" y="300"/>
                  </a:cubicBezTo>
                  <a:cubicBezTo>
                    <a:pt x="406" y="298"/>
                    <a:pt x="401" y="304"/>
                    <a:pt x="394" y="304"/>
                  </a:cubicBezTo>
                  <a:cubicBezTo>
                    <a:pt x="394" y="298"/>
                    <a:pt x="394" y="296"/>
                    <a:pt x="388" y="295"/>
                  </a:cubicBezTo>
                  <a:cubicBezTo>
                    <a:pt x="385" y="294"/>
                    <a:pt x="385" y="294"/>
                    <a:pt x="385" y="294"/>
                  </a:cubicBezTo>
                  <a:cubicBezTo>
                    <a:pt x="374" y="284"/>
                    <a:pt x="361" y="282"/>
                    <a:pt x="363" y="300"/>
                  </a:cubicBezTo>
                  <a:cubicBezTo>
                    <a:pt x="370" y="305"/>
                    <a:pt x="378" y="314"/>
                    <a:pt x="386" y="317"/>
                  </a:cubicBezTo>
                  <a:cubicBezTo>
                    <a:pt x="393" y="318"/>
                    <a:pt x="396" y="313"/>
                    <a:pt x="401" y="319"/>
                  </a:cubicBezTo>
                  <a:cubicBezTo>
                    <a:pt x="413" y="335"/>
                    <a:pt x="402" y="377"/>
                    <a:pt x="423" y="385"/>
                  </a:cubicBezTo>
                  <a:cubicBezTo>
                    <a:pt x="435" y="389"/>
                    <a:pt x="437" y="381"/>
                    <a:pt x="445" y="376"/>
                  </a:cubicBezTo>
                  <a:cubicBezTo>
                    <a:pt x="451" y="379"/>
                    <a:pt x="452" y="384"/>
                    <a:pt x="459" y="386"/>
                  </a:cubicBezTo>
                  <a:close/>
                  <a:moveTo>
                    <a:pt x="392" y="199"/>
                  </a:moveTo>
                  <a:cubicBezTo>
                    <a:pt x="391" y="200"/>
                    <a:pt x="388" y="200"/>
                    <a:pt x="386" y="203"/>
                  </a:cubicBezTo>
                  <a:cubicBezTo>
                    <a:pt x="385" y="206"/>
                    <a:pt x="387" y="218"/>
                    <a:pt x="387" y="220"/>
                  </a:cubicBezTo>
                  <a:cubicBezTo>
                    <a:pt x="391" y="220"/>
                    <a:pt x="394" y="221"/>
                    <a:pt x="397" y="219"/>
                  </a:cubicBezTo>
                  <a:cubicBezTo>
                    <a:pt x="401" y="224"/>
                    <a:pt x="400" y="233"/>
                    <a:pt x="407" y="235"/>
                  </a:cubicBezTo>
                  <a:cubicBezTo>
                    <a:pt x="413" y="237"/>
                    <a:pt x="422" y="231"/>
                    <a:pt x="425" y="227"/>
                  </a:cubicBezTo>
                  <a:cubicBezTo>
                    <a:pt x="433" y="217"/>
                    <a:pt x="456" y="195"/>
                    <a:pt x="453" y="181"/>
                  </a:cubicBezTo>
                  <a:cubicBezTo>
                    <a:pt x="452" y="174"/>
                    <a:pt x="441" y="168"/>
                    <a:pt x="436" y="164"/>
                  </a:cubicBezTo>
                  <a:cubicBezTo>
                    <a:pt x="431" y="161"/>
                    <a:pt x="424" y="158"/>
                    <a:pt x="420" y="154"/>
                  </a:cubicBezTo>
                  <a:cubicBezTo>
                    <a:pt x="412" y="146"/>
                    <a:pt x="402" y="97"/>
                    <a:pt x="385" y="106"/>
                  </a:cubicBezTo>
                  <a:cubicBezTo>
                    <a:pt x="390" y="105"/>
                    <a:pt x="390" y="105"/>
                    <a:pt x="390" y="105"/>
                  </a:cubicBezTo>
                  <a:cubicBezTo>
                    <a:pt x="384" y="110"/>
                    <a:pt x="376" y="121"/>
                    <a:pt x="377" y="129"/>
                  </a:cubicBezTo>
                  <a:cubicBezTo>
                    <a:pt x="377" y="141"/>
                    <a:pt x="387" y="146"/>
                    <a:pt x="379" y="159"/>
                  </a:cubicBezTo>
                  <a:cubicBezTo>
                    <a:pt x="358" y="156"/>
                    <a:pt x="372" y="175"/>
                    <a:pt x="374" y="187"/>
                  </a:cubicBezTo>
                  <a:cubicBezTo>
                    <a:pt x="385" y="190"/>
                    <a:pt x="406" y="179"/>
                    <a:pt x="392" y="199"/>
                  </a:cubicBezTo>
                  <a:close/>
                  <a:moveTo>
                    <a:pt x="411" y="461"/>
                  </a:moveTo>
                  <a:cubicBezTo>
                    <a:pt x="419" y="458"/>
                    <a:pt x="436" y="419"/>
                    <a:pt x="428" y="413"/>
                  </a:cubicBezTo>
                  <a:cubicBezTo>
                    <a:pt x="418" y="405"/>
                    <a:pt x="404" y="420"/>
                    <a:pt x="398" y="405"/>
                  </a:cubicBezTo>
                  <a:cubicBezTo>
                    <a:pt x="393" y="394"/>
                    <a:pt x="371" y="427"/>
                    <a:pt x="370" y="432"/>
                  </a:cubicBezTo>
                  <a:cubicBezTo>
                    <a:pt x="367" y="442"/>
                    <a:pt x="369" y="458"/>
                    <a:pt x="370" y="468"/>
                  </a:cubicBezTo>
                  <a:cubicBezTo>
                    <a:pt x="382" y="469"/>
                    <a:pt x="376" y="489"/>
                    <a:pt x="385" y="495"/>
                  </a:cubicBezTo>
                  <a:cubicBezTo>
                    <a:pt x="396" y="486"/>
                    <a:pt x="388" y="477"/>
                    <a:pt x="392" y="466"/>
                  </a:cubicBezTo>
                  <a:cubicBezTo>
                    <a:pt x="396" y="453"/>
                    <a:pt x="401" y="465"/>
                    <a:pt x="411" y="461"/>
                  </a:cubicBezTo>
                  <a:close/>
                  <a:moveTo>
                    <a:pt x="423" y="261"/>
                  </a:moveTo>
                  <a:cubicBezTo>
                    <a:pt x="423" y="264"/>
                    <a:pt x="423" y="264"/>
                    <a:pt x="423" y="264"/>
                  </a:cubicBezTo>
                  <a:cubicBezTo>
                    <a:pt x="417" y="262"/>
                    <a:pt x="413" y="266"/>
                    <a:pt x="412" y="271"/>
                  </a:cubicBezTo>
                  <a:cubicBezTo>
                    <a:pt x="417" y="273"/>
                    <a:pt x="422" y="274"/>
                    <a:pt x="427" y="274"/>
                  </a:cubicBezTo>
                  <a:cubicBezTo>
                    <a:pt x="429" y="269"/>
                    <a:pt x="427" y="264"/>
                    <a:pt x="423" y="261"/>
                  </a:cubicBezTo>
                  <a:close/>
                  <a:moveTo>
                    <a:pt x="392" y="270"/>
                  </a:moveTo>
                  <a:cubicBezTo>
                    <a:pt x="404" y="262"/>
                    <a:pt x="388" y="253"/>
                    <a:pt x="380" y="255"/>
                  </a:cubicBezTo>
                  <a:cubicBezTo>
                    <a:pt x="373" y="255"/>
                    <a:pt x="365" y="257"/>
                    <a:pt x="367" y="264"/>
                  </a:cubicBezTo>
                  <a:cubicBezTo>
                    <a:pt x="373" y="264"/>
                    <a:pt x="376" y="266"/>
                    <a:pt x="380" y="267"/>
                  </a:cubicBezTo>
                  <a:cubicBezTo>
                    <a:pt x="384" y="268"/>
                    <a:pt x="387" y="273"/>
                    <a:pt x="392" y="270"/>
                  </a:cubicBezTo>
                  <a:close/>
                  <a:moveTo>
                    <a:pt x="379" y="380"/>
                  </a:moveTo>
                  <a:cubicBezTo>
                    <a:pt x="393" y="380"/>
                    <a:pt x="398" y="360"/>
                    <a:pt x="388" y="352"/>
                  </a:cubicBezTo>
                  <a:cubicBezTo>
                    <a:pt x="372" y="338"/>
                    <a:pt x="355" y="379"/>
                    <a:pt x="379" y="380"/>
                  </a:cubicBezTo>
                  <a:close/>
                  <a:moveTo>
                    <a:pt x="358" y="235"/>
                  </a:moveTo>
                  <a:cubicBezTo>
                    <a:pt x="359" y="243"/>
                    <a:pt x="352" y="246"/>
                    <a:pt x="360" y="254"/>
                  </a:cubicBezTo>
                  <a:cubicBezTo>
                    <a:pt x="364" y="253"/>
                    <a:pt x="367" y="249"/>
                    <a:pt x="369" y="245"/>
                  </a:cubicBezTo>
                  <a:cubicBezTo>
                    <a:pt x="373" y="247"/>
                    <a:pt x="375" y="246"/>
                    <a:pt x="379" y="245"/>
                  </a:cubicBezTo>
                  <a:cubicBezTo>
                    <a:pt x="379" y="235"/>
                    <a:pt x="368" y="202"/>
                    <a:pt x="353" y="213"/>
                  </a:cubicBezTo>
                  <a:cubicBezTo>
                    <a:pt x="353" y="213"/>
                    <a:pt x="353" y="213"/>
                    <a:pt x="353" y="213"/>
                  </a:cubicBezTo>
                  <a:cubicBezTo>
                    <a:pt x="346" y="221"/>
                    <a:pt x="356" y="228"/>
                    <a:pt x="358" y="235"/>
                  </a:cubicBezTo>
                  <a:close/>
                  <a:moveTo>
                    <a:pt x="350" y="592"/>
                  </a:moveTo>
                  <a:cubicBezTo>
                    <a:pt x="346" y="587"/>
                    <a:pt x="339" y="572"/>
                    <a:pt x="332" y="584"/>
                  </a:cubicBezTo>
                  <a:cubicBezTo>
                    <a:pt x="328" y="587"/>
                    <a:pt x="328" y="596"/>
                    <a:pt x="329" y="601"/>
                  </a:cubicBezTo>
                  <a:cubicBezTo>
                    <a:pt x="313" y="603"/>
                    <a:pt x="312" y="616"/>
                    <a:pt x="323" y="624"/>
                  </a:cubicBezTo>
                  <a:cubicBezTo>
                    <a:pt x="331" y="629"/>
                    <a:pt x="348" y="634"/>
                    <a:pt x="357" y="633"/>
                  </a:cubicBezTo>
                  <a:cubicBezTo>
                    <a:pt x="366" y="631"/>
                    <a:pt x="371" y="624"/>
                    <a:pt x="365" y="616"/>
                  </a:cubicBezTo>
                  <a:cubicBezTo>
                    <a:pt x="368" y="608"/>
                    <a:pt x="354" y="599"/>
                    <a:pt x="350" y="592"/>
                  </a:cubicBezTo>
                  <a:close/>
                  <a:moveTo>
                    <a:pt x="333" y="516"/>
                  </a:moveTo>
                  <a:cubicBezTo>
                    <a:pt x="336" y="514"/>
                    <a:pt x="336" y="508"/>
                    <a:pt x="339" y="505"/>
                  </a:cubicBezTo>
                  <a:cubicBezTo>
                    <a:pt x="342" y="502"/>
                    <a:pt x="347" y="503"/>
                    <a:pt x="350" y="500"/>
                  </a:cubicBezTo>
                  <a:cubicBezTo>
                    <a:pt x="361" y="492"/>
                    <a:pt x="360" y="477"/>
                    <a:pt x="358" y="465"/>
                  </a:cubicBezTo>
                  <a:cubicBezTo>
                    <a:pt x="356" y="465"/>
                    <a:pt x="354" y="465"/>
                    <a:pt x="353" y="465"/>
                  </a:cubicBezTo>
                  <a:cubicBezTo>
                    <a:pt x="355" y="455"/>
                    <a:pt x="347" y="452"/>
                    <a:pt x="340" y="449"/>
                  </a:cubicBezTo>
                  <a:cubicBezTo>
                    <a:pt x="340" y="437"/>
                    <a:pt x="356" y="431"/>
                    <a:pt x="351" y="417"/>
                  </a:cubicBezTo>
                  <a:cubicBezTo>
                    <a:pt x="343" y="415"/>
                    <a:pt x="340" y="422"/>
                    <a:pt x="334" y="421"/>
                  </a:cubicBezTo>
                  <a:cubicBezTo>
                    <a:pt x="328" y="420"/>
                    <a:pt x="326" y="411"/>
                    <a:pt x="321" y="414"/>
                  </a:cubicBezTo>
                  <a:cubicBezTo>
                    <a:pt x="314" y="412"/>
                    <a:pt x="306" y="419"/>
                    <a:pt x="305" y="426"/>
                  </a:cubicBezTo>
                  <a:cubicBezTo>
                    <a:pt x="310" y="429"/>
                    <a:pt x="310" y="432"/>
                    <a:pt x="304" y="434"/>
                  </a:cubicBezTo>
                  <a:cubicBezTo>
                    <a:pt x="306" y="433"/>
                    <a:pt x="314" y="450"/>
                    <a:pt x="312" y="454"/>
                  </a:cubicBezTo>
                  <a:cubicBezTo>
                    <a:pt x="305" y="466"/>
                    <a:pt x="298" y="453"/>
                    <a:pt x="297" y="445"/>
                  </a:cubicBezTo>
                  <a:cubicBezTo>
                    <a:pt x="280" y="465"/>
                    <a:pt x="309" y="486"/>
                    <a:pt x="317" y="504"/>
                  </a:cubicBezTo>
                  <a:cubicBezTo>
                    <a:pt x="321" y="515"/>
                    <a:pt x="324" y="525"/>
                    <a:pt x="333" y="516"/>
                  </a:cubicBezTo>
                  <a:close/>
                  <a:moveTo>
                    <a:pt x="335" y="307"/>
                  </a:moveTo>
                  <a:cubicBezTo>
                    <a:pt x="332" y="306"/>
                    <a:pt x="329" y="301"/>
                    <a:pt x="325" y="301"/>
                  </a:cubicBezTo>
                  <a:cubicBezTo>
                    <a:pt x="325" y="303"/>
                    <a:pt x="325" y="303"/>
                    <a:pt x="325" y="303"/>
                  </a:cubicBezTo>
                  <a:cubicBezTo>
                    <a:pt x="319" y="312"/>
                    <a:pt x="330" y="319"/>
                    <a:pt x="329" y="329"/>
                  </a:cubicBezTo>
                  <a:cubicBezTo>
                    <a:pt x="320" y="330"/>
                    <a:pt x="318" y="315"/>
                    <a:pt x="313" y="310"/>
                  </a:cubicBezTo>
                  <a:cubicBezTo>
                    <a:pt x="313" y="316"/>
                    <a:pt x="313" y="322"/>
                    <a:pt x="311" y="328"/>
                  </a:cubicBezTo>
                  <a:cubicBezTo>
                    <a:pt x="309" y="332"/>
                    <a:pt x="301" y="338"/>
                    <a:pt x="301" y="342"/>
                  </a:cubicBezTo>
                  <a:cubicBezTo>
                    <a:pt x="300" y="357"/>
                    <a:pt x="322" y="335"/>
                    <a:pt x="327" y="343"/>
                  </a:cubicBezTo>
                  <a:cubicBezTo>
                    <a:pt x="330" y="349"/>
                    <a:pt x="307" y="375"/>
                    <a:pt x="334" y="372"/>
                  </a:cubicBezTo>
                  <a:cubicBezTo>
                    <a:pt x="349" y="371"/>
                    <a:pt x="349" y="352"/>
                    <a:pt x="351" y="340"/>
                  </a:cubicBezTo>
                  <a:cubicBezTo>
                    <a:pt x="353" y="333"/>
                    <a:pt x="356" y="318"/>
                    <a:pt x="352" y="312"/>
                  </a:cubicBezTo>
                  <a:cubicBezTo>
                    <a:pt x="349" y="306"/>
                    <a:pt x="347" y="307"/>
                    <a:pt x="343" y="306"/>
                  </a:cubicBezTo>
                  <a:cubicBezTo>
                    <a:pt x="342" y="305"/>
                    <a:pt x="337" y="307"/>
                    <a:pt x="335" y="307"/>
                  </a:cubicBezTo>
                  <a:close/>
                  <a:moveTo>
                    <a:pt x="325" y="237"/>
                  </a:moveTo>
                  <a:cubicBezTo>
                    <a:pt x="334" y="245"/>
                    <a:pt x="335" y="259"/>
                    <a:pt x="337" y="243"/>
                  </a:cubicBezTo>
                  <a:cubicBezTo>
                    <a:pt x="338" y="233"/>
                    <a:pt x="338" y="215"/>
                    <a:pt x="334" y="205"/>
                  </a:cubicBezTo>
                  <a:cubicBezTo>
                    <a:pt x="329" y="195"/>
                    <a:pt x="318" y="187"/>
                    <a:pt x="307" y="188"/>
                  </a:cubicBezTo>
                  <a:cubicBezTo>
                    <a:pt x="302" y="186"/>
                    <a:pt x="302" y="186"/>
                    <a:pt x="302" y="186"/>
                  </a:cubicBezTo>
                  <a:cubicBezTo>
                    <a:pt x="303" y="186"/>
                    <a:pt x="303" y="185"/>
                    <a:pt x="301" y="185"/>
                  </a:cubicBezTo>
                  <a:cubicBezTo>
                    <a:pt x="295" y="194"/>
                    <a:pt x="291" y="212"/>
                    <a:pt x="298" y="222"/>
                  </a:cubicBezTo>
                  <a:cubicBezTo>
                    <a:pt x="304" y="231"/>
                    <a:pt x="317" y="230"/>
                    <a:pt x="325" y="237"/>
                  </a:cubicBezTo>
                  <a:close/>
                  <a:moveTo>
                    <a:pt x="114" y="590"/>
                  </a:moveTo>
                  <a:cubicBezTo>
                    <a:pt x="113" y="593"/>
                    <a:pt x="114" y="595"/>
                    <a:pt x="116" y="598"/>
                  </a:cubicBezTo>
                  <a:cubicBezTo>
                    <a:pt x="134" y="600"/>
                    <a:pt x="152" y="609"/>
                    <a:pt x="170" y="603"/>
                  </a:cubicBezTo>
                  <a:cubicBezTo>
                    <a:pt x="179" y="599"/>
                    <a:pt x="185" y="599"/>
                    <a:pt x="194" y="597"/>
                  </a:cubicBezTo>
                  <a:cubicBezTo>
                    <a:pt x="202" y="596"/>
                    <a:pt x="206" y="585"/>
                    <a:pt x="214" y="586"/>
                  </a:cubicBezTo>
                  <a:cubicBezTo>
                    <a:pt x="221" y="586"/>
                    <a:pt x="232" y="599"/>
                    <a:pt x="240" y="603"/>
                  </a:cubicBezTo>
                  <a:cubicBezTo>
                    <a:pt x="240" y="603"/>
                    <a:pt x="239" y="605"/>
                    <a:pt x="239" y="605"/>
                  </a:cubicBezTo>
                  <a:cubicBezTo>
                    <a:pt x="251" y="613"/>
                    <a:pt x="263" y="607"/>
                    <a:pt x="274" y="613"/>
                  </a:cubicBezTo>
                  <a:cubicBezTo>
                    <a:pt x="277" y="606"/>
                    <a:pt x="277" y="599"/>
                    <a:pt x="280" y="593"/>
                  </a:cubicBezTo>
                  <a:cubicBezTo>
                    <a:pt x="271" y="594"/>
                    <a:pt x="265" y="588"/>
                    <a:pt x="268" y="580"/>
                  </a:cubicBezTo>
                  <a:cubicBezTo>
                    <a:pt x="276" y="581"/>
                    <a:pt x="296" y="585"/>
                    <a:pt x="300" y="576"/>
                  </a:cubicBezTo>
                  <a:cubicBezTo>
                    <a:pt x="307" y="561"/>
                    <a:pt x="281" y="552"/>
                    <a:pt x="274" y="543"/>
                  </a:cubicBezTo>
                  <a:cubicBezTo>
                    <a:pt x="262" y="529"/>
                    <a:pt x="264" y="521"/>
                    <a:pt x="262" y="505"/>
                  </a:cubicBezTo>
                  <a:cubicBezTo>
                    <a:pt x="260" y="494"/>
                    <a:pt x="255" y="486"/>
                    <a:pt x="254" y="475"/>
                  </a:cubicBezTo>
                  <a:cubicBezTo>
                    <a:pt x="254" y="466"/>
                    <a:pt x="256" y="457"/>
                    <a:pt x="255" y="448"/>
                  </a:cubicBezTo>
                  <a:cubicBezTo>
                    <a:pt x="245" y="438"/>
                    <a:pt x="228" y="410"/>
                    <a:pt x="224" y="440"/>
                  </a:cubicBezTo>
                  <a:cubicBezTo>
                    <a:pt x="223" y="446"/>
                    <a:pt x="226" y="495"/>
                    <a:pt x="213" y="491"/>
                  </a:cubicBezTo>
                  <a:cubicBezTo>
                    <a:pt x="201" y="487"/>
                    <a:pt x="217" y="443"/>
                    <a:pt x="207" y="439"/>
                  </a:cubicBezTo>
                  <a:cubicBezTo>
                    <a:pt x="204" y="438"/>
                    <a:pt x="201" y="439"/>
                    <a:pt x="197" y="441"/>
                  </a:cubicBezTo>
                  <a:cubicBezTo>
                    <a:pt x="182" y="502"/>
                    <a:pt x="171" y="546"/>
                    <a:pt x="171" y="546"/>
                  </a:cubicBezTo>
                  <a:cubicBezTo>
                    <a:pt x="171" y="546"/>
                    <a:pt x="112" y="538"/>
                    <a:pt x="80" y="525"/>
                  </a:cubicBezTo>
                  <a:cubicBezTo>
                    <a:pt x="77" y="534"/>
                    <a:pt x="84" y="550"/>
                    <a:pt x="88" y="561"/>
                  </a:cubicBezTo>
                  <a:cubicBezTo>
                    <a:pt x="104" y="558"/>
                    <a:pt x="116" y="577"/>
                    <a:pt x="114" y="590"/>
                  </a:cubicBezTo>
                  <a:close/>
                  <a:moveTo>
                    <a:pt x="237" y="358"/>
                  </a:moveTo>
                  <a:cubicBezTo>
                    <a:pt x="248" y="359"/>
                    <a:pt x="258" y="359"/>
                    <a:pt x="266" y="352"/>
                  </a:cubicBezTo>
                  <a:cubicBezTo>
                    <a:pt x="272" y="346"/>
                    <a:pt x="282" y="330"/>
                    <a:pt x="276" y="322"/>
                  </a:cubicBezTo>
                  <a:cubicBezTo>
                    <a:pt x="271" y="314"/>
                    <a:pt x="257" y="317"/>
                    <a:pt x="250" y="310"/>
                  </a:cubicBezTo>
                  <a:cubicBezTo>
                    <a:pt x="249" y="310"/>
                    <a:pt x="248" y="310"/>
                    <a:pt x="247" y="310"/>
                  </a:cubicBezTo>
                  <a:cubicBezTo>
                    <a:pt x="246" y="304"/>
                    <a:pt x="250" y="287"/>
                    <a:pt x="246" y="283"/>
                  </a:cubicBezTo>
                  <a:cubicBezTo>
                    <a:pt x="230" y="268"/>
                    <a:pt x="235" y="329"/>
                    <a:pt x="235" y="329"/>
                  </a:cubicBezTo>
                  <a:cubicBezTo>
                    <a:pt x="232" y="331"/>
                    <a:pt x="228" y="331"/>
                    <a:pt x="225" y="329"/>
                  </a:cubicBezTo>
                  <a:cubicBezTo>
                    <a:pt x="222" y="338"/>
                    <a:pt x="220" y="348"/>
                    <a:pt x="218" y="357"/>
                  </a:cubicBezTo>
                  <a:cubicBezTo>
                    <a:pt x="224" y="356"/>
                    <a:pt x="229" y="357"/>
                    <a:pt x="237" y="358"/>
                  </a:cubicBezTo>
                  <a:close/>
                  <a:moveTo>
                    <a:pt x="245" y="416"/>
                  </a:moveTo>
                  <a:cubicBezTo>
                    <a:pt x="240" y="423"/>
                    <a:pt x="252" y="435"/>
                    <a:pt x="256" y="441"/>
                  </a:cubicBezTo>
                  <a:cubicBezTo>
                    <a:pt x="257" y="444"/>
                    <a:pt x="267" y="426"/>
                    <a:pt x="266" y="422"/>
                  </a:cubicBezTo>
                  <a:cubicBezTo>
                    <a:pt x="264" y="414"/>
                    <a:pt x="251" y="408"/>
                    <a:pt x="245" y="416"/>
                  </a:cubicBezTo>
                  <a:close/>
                  <a:moveTo>
                    <a:pt x="176" y="628"/>
                  </a:moveTo>
                  <a:cubicBezTo>
                    <a:pt x="181" y="631"/>
                    <a:pt x="189" y="623"/>
                    <a:pt x="193" y="622"/>
                  </a:cubicBezTo>
                  <a:cubicBezTo>
                    <a:pt x="198" y="620"/>
                    <a:pt x="203" y="621"/>
                    <a:pt x="209" y="622"/>
                  </a:cubicBezTo>
                  <a:cubicBezTo>
                    <a:pt x="211" y="613"/>
                    <a:pt x="221" y="617"/>
                    <a:pt x="224" y="609"/>
                  </a:cubicBezTo>
                  <a:cubicBezTo>
                    <a:pt x="221" y="605"/>
                    <a:pt x="215" y="604"/>
                    <a:pt x="211" y="606"/>
                  </a:cubicBezTo>
                  <a:cubicBezTo>
                    <a:pt x="217" y="606"/>
                    <a:pt x="217" y="606"/>
                    <a:pt x="217" y="606"/>
                  </a:cubicBezTo>
                  <a:cubicBezTo>
                    <a:pt x="214" y="606"/>
                    <a:pt x="156" y="615"/>
                    <a:pt x="176" y="628"/>
                  </a:cubicBez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6" name="Freeform 4028">
              <a:extLst>
                <a:ext uri="{FF2B5EF4-FFF2-40B4-BE49-F238E27FC236}">
                  <a16:creationId xmlns:a16="http://schemas.microsoft.com/office/drawing/2014/main" id="{6EA48FE6-BF38-4603-ADE7-AB7E36EB32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94076" y="1555750"/>
              <a:ext cx="2736850" cy="2895600"/>
            </a:xfrm>
            <a:custGeom>
              <a:avLst/>
              <a:gdLst/>
              <a:ahLst/>
              <a:cxnLst>
                <a:cxn ang="0">
                  <a:pos x="861" y="668"/>
                </a:cxn>
                <a:cxn ang="0">
                  <a:pos x="883" y="649"/>
                </a:cxn>
                <a:cxn ang="0">
                  <a:pos x="795" y="558"/>
                </a:cxn>
                <a:cxn ang="0">
                  <a:pos x="734" y="489"/>
                </a:cxn>
                <a:cxn ang="0">
                  <a:pos x="666" y="461"/>
                </a:cxn>
                <a:cxn ang="0">
                  <a:pos x="598" y="434"/>
                </a:cxn>
                <a:cxn ang="0">
                  <a:pos x="509" y="419"/>
                </a:cxn>
                <a:cxn ang="0">
                  <a:pos x="448" y="443"/>
                </a:cxn>
                <a:cxn ang="0">
                  <a:pos x="582" y="526"/>
                </a:cxn>
                <a:cxn ang="0">
                  <a:pos x="677" y="578"/>
                </a:cxn>
                <a:cxn ang="0">
                  <a:pos x="702" y="719"/>
                </a:cxn>
                <a:cxn ang="0">
                  <a:pos x="768" y="758"/>
                </a:cxn>
                <a:cxn ang="0">
                  <a:pos x="908" y="780"/>
                </a:cxn>
                <a:cxn ang="0">
                  <a:pos x="675" y="797"/>
                </a:cxn>
                <a:cxn ang="0">
                  <a:pos x="647" y="611"/>
                </a:cxn>
                <a:cxn ang="0">
                  <a:pos x="609" y="790"/>
                </a:cxn>
                <a:cxn ang="0">
                  <a:pos x="531" y="795"/>
                </a:cxn>
                <a:cxn ang="0">
                  <a:pos x="635" y="792"/>
                </a:cxn>
                <a:cxn ang="0">
                  <a:pos x="607" y="836"/>
                </a:cxn>
                <a:cxn ang="0">
                  <a:pos x="547" y="417"/>
                </a:cxn>
                <a:cxn ang="0">
                  <a:pos x="590" y="656"/>
                </a:cxn>
                <a:cxn ang="0">
                  <a:pos x="517" y="650"/>
                </a:cxn>
                <a:cxn ang="0">
                  <a:pos x="399" y="510"/>
                </a:cxn>
                <a:cxn ang="0">
                  <a:pos x="363" y="646"/>
                </a:cxn>
                <a:cxn ang="0">
                  <a:pos x="185" y="682"/>
                </a:cxn>
                <a:cxn ang="0">
                  <a:pos x="23" y="528"/>
                </a:cxn>
                <a:cxn ang="0">
                  <a:pos x="181" y="771"/>
                </a:cxn>
                <a:cxn ang="0">
                  <a:pos x="398" y="826"/>
                </a:cxn>
                <a:cxn ang="0">
                  <a:pos x="446" y="738"/>
                </a:cxn>
                <a:cxn ang="0">
                  <a:pos x="470" y="134"/>
                </a:cxn>
                <a:cxn ang="0">
                  <a:pos x="467" y="206"/>
                </a:cxn>
                <a:cxn ang="0">
                  <a:pos x="456" y="249"/>
                </a:cxn>
                <a:cxn ang="0">
                  <a:pos x="533" y="266"/>
                </a:cxn>
                <a:cxn ang="0">
                  <a:pos x="544" y="203"/>
                </a:cxn>
                <a:cxn ang="0">
                  <a:pos x="534" y="147"/>
                </a:cxn>
                <a:cxn ang="0">
                  <a:pos x="543" y="78"/>
                </a:cxn>
                <a:cxn ang="0">
                  <a:pos x="480" y="13"/>
                </a:cxn>
                <a:cxn ang="0">
                  <a:pos x="433" y="71"/>
                </a:cxn>
                <a:cxn ang="0">
                  <a:pos x="510" y="372"/>
                </a:cxn>
                <a:cxn ang="0">
                  <a:pos x="473" y="336"/>
                </a:cxn>
                <a:cxn ang="0">
                  <a:pos x="388" y="295"/>
                </a:cxn>
                <a:cxn ang="0">
                  <a:pos x="459" y="386"/>
                </a:cxn>
                <a:cxn ang="0">
                  <a:pos x="453" y="181"/>
                </a:cxn>
                <a:cxn ang="0">
                  <a:pos x="374" y="187"/>
                </a:cxn>
                <a:cxn ang="0">
                  <a:pos x="385" y="495"/>
                </a:cxn>
                <a:cxn ang="0">
                  <a:pos x="423" y="261"/>
                </a:cxn>
                <a:cxn ang="0">
                  <a:pos x="388" y="352"/>
                </a:cxn>
                <a:cxn ang="0">
                  <a:pos x="353" y="213"/>
                </a:cxn>
                <a:cxn ang="0">
                  <a:pos x="365" y="616"/>
                </a:cxn>
                <a:cxn ang="0">
                  <a:pos x="340" y="449"/>
                </a:cxn>
                <a:cxn ang="0">
                  <a:pos x="297" y="445"/>
                </a:cxn>
                <a:cxn ang="0">
                  <a:pos x="313" y="310"/>
                </a:cxn>
                <a:cxn ang="0">
                  <a:pos x="343" y="306"/>
                </a:cxn>
                <a:cxn ang="0">
                  <a:pos x="301" y="185"/>
                </a:cxn>
                <a:cxn ang="0">
                  <a:pos x="214" y="586"/>
                </a:cxn>
                <a:cxn ang="0">
                  <a:pos x="274" y="543"/>
                </a:cxn>
                <a:cxn ang="0">
                  <a:pos x="197" y="441"/>
                </a:cxn>
                <a:cxn ang="0">
                  <a:pos x="276" y="322"/>
                </a:cxn>
                <a:cxn ang="0">
                  <a:pos x="237" y="358"/>
                </a:cxn>
                <a:cxn ang="0">
                  <a:pos x="209" y="622"/>
                </a:cxn>
              </a:cxnLst>
              <a:rect l="0" t="0" r="r" b="b"/>
              <a:pathLst>
                <a:path w="921" h="974">
                  <a:moveTo>
                    <a:pt x="830" y="732"/>
                  </a:moveTo>
                  <a:cubicBezTo>
                    <a:pt x="840" y="708"/>
                    <a:pt x="873" y="737"/>
                    <a:pt x="889" y="738"/>
                  </a:cubicBezTo>
                  <a:cubicBezTo>
                    <a:pt x="921" y="741"/>
                    <a:pt x="910" y="712"/>
                    <a:pt x="893" y="715"/>
                  </a:cubicBezTo>
                  <a:cubicBezTo>
                    <a:pt x="896" y="715"/>
                    <a:pt x="898" y="712"/>
                    <a:pt x="903" y="713"/>
                  </a:cubicBezTo>
                  <a:cubicBezTo>
                    <a:pt x="894" y="708"/>
                    <a:pt x="895" y="701"/>
                    <a:pt x="890" y="695"/>
                  </a:cubicBezTo>
                  <a:cubicBezTo>
                    <a:pt x="884" y="689"/>
                    <a:pt x="877" y="689"/>
                    <a:pt x="873" y="681"/>
                  </a:cubicBezTo>
                  <a:cubicBezTo>
                    <a:pt x="861" y="684"/>
                    <a:pt x="868" y="672"/>
                    <a:pt x="861" y="668"/>
                  </a:cubicBezTo>
                  <a:cubicBezTo>
                    <a:pt x="855" y="666"/>
                    <a:pt x="846" y="674"/>
                    <a:pt x="840" y="671"/>
                  </a:cubicBezTo>
                  <a:cubicBezTo>
                    <a:pt x="830" y="667"/>
                    <a:pt x="825" y="642"/>
                    <a:pt x="813" y="663"/>
                  </a:cubicBezTo>
                  <a:cubicBezTo>
                    <a:pt x="813" y="652"/>
                    <a:pt x="805" y="652"/>
                    <a:pt x="799" y="645"/>
                  </a:cubicBezTo>
                  <a:cubicBezTo>
                    <a:pt x="815" y="645"/>
                    <a:pt x="797" y="618"/>
                    <a:pt x="824" y="623"/>
                  </a:cubicBezTo>
                  <a:cubicBezTo>
                    <a:pt x="827" y="624"/>
                    <a:pt x="832" y="630"/>
                    <a:pt x="834" y="630"/>
                  </a:cubicBezTo>
                  <a:cubicBezTo>
                    <a:pt x="838" y="630"/>
                    <a:pt x="845" y="625"/>
                    <a:pt x="850" y="623"/>
                  </a:cubicBezTo>
                  <a:cubicBezTo>
                    <a:pt x="851" y="631"/>
                    <a:pt x="877" y="654"/>
                    <a:pt x="883" y="649"/>
                  </a:cubicBezTo>
                  <a:cubicBezTo>
                    <a:pt x="888" y="646"/>
                    <a:pt x="890" y="642"/>
                    <a:pt x="889" y="637"/>
                  </a:cubicBezTo>
                  <a:cubicBezTo>
                    <a:pt x="873" y="626"/>
                    <a:pt x="888" y="623"/>
                    <a:pt x="891" y="615"/>
                  </a:cubicBezTo>
                  <a:cubicBezTo>
                    <a:pt x="896" y="603"/>
                    <a:pt x="891" y="586"/>
                    <a:pt x="892" y="573"/>
                  </a:cubicBezTo>
                  <a:cubicBezTo>
                    <a:pt x="884" y="566"/>
                    <a:pt x="873" y="562"/>
                    <a:pt x="862" y="560"/>
                  </a:cubicBezTo>
                  <a:cubicBezTo>
                    <a:pt x="855" y="560"/>
                    <a:pt x="848" y="562"/>
                    <a:pt x="842" y="561"/>
                  </a:cubicBezTo>
                  <a:cubicBezTo>
                    <a:pt x="835" y="560"/>
                    <a:pt x="830" y="554"/>
                    <a:pt x="824" y="553"/>
                  </a:cubicBezTo>
                  <a:cubicBezTo>
                    <a:pt x="814" y="551"/>
                    <a:pt x="804" y="559"/>
                    <a:pt x="795" y="558"/>
                  </a:cubicBezTo>
                  <a:cubicBezTo>
                    <a:pt x="788" y="556"/>
                    <a:pt x="787" y="549"/>
                    <a:pt x="784" y="547"/>
                  </a:cubicBezTo>
                  <a:cubicBezTo>
                    <a:pt x="772" y="543"/>
                    <a:pt x="759" y="556"/>
                    <a:pt x="749" y="546"/>
                  </a:cubicBezTo>
                  <a:cubicBezTo>
                    <a:pt x="755" y="544"/>
                    <a:pt x="761" y="529"/>
                    <a:pt x="754" y="526"/>
                  </a:cubicBezTo>
                  <a:cubicBezTo>
                    <a:pt x="763" y="530"/>
                    <a:pt x="772" y="523"/>
                    <a:pt x="764" y="514"/>
                  </a:cubicBezTo>
                  <a:cubicBezTo>
                    <a:pt x="757" y="520"/>
                    <a:pt x="749" y="519"/>
                    <a:pt x="742" y="519"/>
                  </a:cubicBezTo>
                  <a:cubicBezTo>
                    <a:pt x="732" y="508"/>
                    <a:pt x="754" y="505"/>
                    <a:pt x="752" y="497"/>
                  </a:cubicBezTo>
                  <a:cubicBezTo>
                    <a:pt x="751" y="492"/>
                    <a:pt x="739" y="495"/>
                    <a:pt x="734" y="489"/>
                  </a:cubicBezTo>
                  <a:cubicBezTo>
                    <a:pt x="732" y="502"/>
                    <a:pt x="726" y="502"/>
                    <a:pt x="715" y="503"/>
                  </a:cubicBezTo>
                  <a:cubicBezTo>
                    <a:pt x="714" y="495"/>
                    <a:pt x="726" y="489"/>
                    <a:pt x="722" y="482"/>
                  </a:cubicBezTo>
                  <a:cubicBezTo>
                    <a:pt x="717" y="473"/>
                    <a:pt x="702" y="477"/>
                    <a:pt x="698" y="483"/>
                  </a:cubicBezTo>
                  <a:cubicBezTo>
                    <a:pt x="696" y="480"/>
                    <a:pt x="693" y="480"/>
                    <a:pt x="691" y="476"/>
                  </a:cubicBezTo>
                  <a:cubicBezTo>
                    <a:pt x="686" y="480"/>
                    <a:pt x="681" y="486"/>
                    <a:pt x="674" y="487"/>
                  </a:cubicBezTo>
                  <a:cubicBezTo>
                    <a:pt x="673" y="477"/>
                    <a:pt x="686" y="453"/>
                    <a:pt x="665" y="457"/>
                  </a:cubicBezTo>
                  <a:cubicBezTo>
                    <a:pt x="664" y="459"/>
                    <a:pt x="666" y="459"/>
                    <a:pt x="666" y="461"/>
                  </a:cubicBezTo>
                  <a:cubicBezTo>
                    <a:pt x="665" y="461"/>
                    <a:pt x="662" y="463"/>
                    <a:pt x="661" y="463"/>
                  </a:cubicBezTo>
                  <a:cubicBezTo>
                    <a:pt x="660" y="467"/>
                    <a:pt x="658" y="472"/>
                    <a:pt x="657" y="476"/>
                  </a:cubicBezTo>
                  <a:cubicBezTo>
                    <a:pt x="651" y="473"/>
                    <a:pt x="649" y="463"/>
                    <a:pt x="642" y="462"/>
                  </a:cubicBezTo>
                  <a:cubicBezTo>
                    <a:pt x="639" y="461"/>
                    <a:pt x="630" y="466"/>
                    <a:pt x="627" y="467"/>
                  </a:cubicBezTo>
                  <a:cubicBezTo>
                    <a:pt x="635" y="453"/>
                    <a:pt x="632" y="448"/>
                    <a:pt x="618" y="442"/>
                  </a:cubicBezTo>
                  <a:cubicBezTo>
                    <a:pt x="616" y="441"/>
                    <a:pt x="604" y="438"/>
                    <a:pt x="604" y="438"/>
                  </a:cubicBezTo>
                  <a:cubicBezTo>
                    <a:pt x="602" y="437"/>
                    <a:pt x="600" y="435"/>
                    <a:pt x="598" y="434"/>
                  </a:cubicBezTo>
                  <a:cubicBezTo>
                    <a:pt x="590" y="439"/>
                    <a:pt x="585" y="431"/>
                    <a:pt x="578" y="439"/>
                  </a:cubicBezTo>
                  <a:cubicBezTo>
                    <a:pt x="571" y="446"/>
                    <a:pt x="577" y="456"/>
                    <a:pt x="576" y="464"/>
                  </a:cubicBezTo>
                  <a:cubicBezTo>
                    <a:pt x="570" y="464"/>
                    <a:pt x="566" y="459"/>
                    <a:pt x="564" y="453"/>
                  </a:cubicBezTo>
                  <a:cubicBezTo>
                    <a:pt x="555" y="457"/>
                    <a:pt x="563" y="467"/>
                    <a:pt x="554" y="472"/>
                  </a:cubicBezTo>
                  <a:cubicBezTo>
                    <a:pt x="547" y="459"/>
                    <a:pt x="557" y="447"/>
                    <a:pt x="549" y="432"/>
                  </a:cubicBezTo>
                  <a:cubicBezTo>
                    <a:pt x="545" y="425"/>
                    <a:pt x="541" y="412"/>
                    <a:pt x="533" y="408"/>
                  </a:cubicBezTo>
                  <a:cubicBezTo>
                    <a:pt x="519" y="403"/>
                    <a:pt x="515" y="419"/>
                    <a:pt x="509" y="419"/>
                  </a:cubicBezTo>
                  <a:cubicBezTo>
                    <a:pt x="491" y="419"/>
                    <a:pt x="493" y="445"/>
                    <a:pt x="495" y="456"/>
                  </a:cubicBezTo>
                  <a:cubicBezTo>
                    <a:pt x="497" y="468"/>
                    <a:pt x="498" y="466"/>
                    <a:pt x="494" y="479"/>
                  </a:cubicBezTo>
                  <a:cubicBezTo>
                    <a:pt x="502" y="487"/>
                    <a:pt x="511" y="500"/>
                    <a:pt x="508" y="511"/>
                  </a:cubicBezTo>
                  <a:cubicBezTo>
                    <a:pt x="490" y="501"/>
                    <a:pt x="485" y="481"/>
                    <a:pt x="481" y="463"/>
                  </a:cubicBezTo>
                  <a:cubicBezTo>
                    <a:pt x="479" y="450"/>
                    <a:pt x="477" y="452"/>
                    <a:pt x="481" y="438"/>
                  </a:cubicBezTo>
                  <a:cubicBezTo>
                    <a:pt x="484" y="429"/>
                    <a:pt x="488" y="420"/>
                    <a:pt x="489" y="410"/>
                  </a:cubicBezTo>
                  <a:cubicBezTo>
                    <a:pt x="469" y="416"/>
                    <a:pt x="455" y="422"/>
                    <a:pt x="448" y="443"/>
                  </a:cubicBezTo>
                  <a:cubicBezTo>
                    <a:pt x="444" y="456"/>
                    <a:pt x="437" y="508"/>
                    <a:pt x="446" y="516"/>
                  </a:cubicBezTo>
                  <a:cubicBezTo>
                    <a:pt x="457" y="525"/>
                    <a:pt x="474" y="514"/>
                    <a:pt x="481" y="531"/>
                  </a:cubicBezTo>
                  <a:cubicBezTo>
                    <a:pt x="471" y="534"/>
                    <a:pt x="465" y="528"/>
                    <a:pt x="455" y="530"/>
                  </a:cubicBezTo>
                  <a:cubicBezTo>
                    <a:pt x="455" y="536"/>
                    <a:pt x="460" y="555"/>
                    <a:pt x="466" y="557"/>
                  </a:cubicBezTo>
                  <a:cubicBezTo>
                    <a:pt x="470" y="559"/>
                    <a:pt x="491" y="550"/>
                    <a:pt x="489" y="547"/>
                  </a:cubicBezTo>
                  <a:cubicBezTo>
                    <a:pt x="498" y="569"/>
                    <a:pt x="567" y="562"/>
                    <a:pt x="578" y="549"/>
                  </a:cubicBezTo>
                  <a:cubicBezTo>
                    <a:pt x="609" y="559"/>
                    <a:pt x="579" y="533"/>
                    <a:pt x="582" y="526"/>
                  </a:cubicBezTo>
                  <a:cubicBezTo>
                    <a:pt x="588" y="527"/>
                    <a:pt x="598" y="525"/>
                    <a:pt x="603" y="528"/>
                  </a:cubicBezTo>
                  <a:cubicBezTo>
                    <a:pt x="608" y="531"/>
                    <a:pt x="609" y="539"/>
                    <a:pt x="613" y="543"/>
                  </a:cubicBezTo>
                  <a:cubicBezTo>
                    <a:pt x="622" y="553"/>
                    <a:pt x="638" y="556"/>
                    <a:pt x="647" y="566"/>
                  </a:cubicBezTo>
                  <a:cubicBezTo>
                    <a:pt x="641" y="574"/>
                    <a:pt x="636" y="579"/>
                    <a:pt x="643" y="588"/>
                  </a:cubicBezTo>
                  <a:cubicBezTo>
                    <a:pt x="650" y="584"/>
                    <a:pt x="651" y="573"/>
                    <a:pt x="658" y="567"/>
                  </a:cubicBezTo>
                  <a:cubicBezTo>
                    <a:pt x="664" y="569"/>
                    <a:pt x="670" y="573"/>
                    <a:pt x="673" y="579"/>
                  </a:cubicBezTo>
                  <a:cubicBezTo>
                    <a:pt x="674" y="579"/>
                    <a:pt x="676" y="578"/>
                    <a:pt x="677" y="578"/>
                  </a:cubicBezTo>
                  <a:cubicBezTo>
                    <a:pt x="687" y="595"/>
                    <a:pt x="704" y="596"/>
                    <a:pt x="716" y="610"/>
                  </a:cubicBezTo>
                  <a:cubicBezTo>
                    <a:pt x="724" y="619"/>
                    <a:pt x="724" y="620"/>
                    <a:pt x="721" y="632"/>
                  </a:cubicBezTo>
                  <a:cubicBezTo>
                    <a:pt x="719" y="639"/>
                    <a:pt x="707" y="647"/>
                    <a:pt x="720" y="653"/>
                  </a:cubicBezTo>
                  <a:cubicBezTo>
                    <a:pt x="720" y="665"/>
                    <a:pt x="704" y="671"/>
                    <a:pt x="705" y="686"/>
                  </a:cubicBezTo>
                  <a:cubicBezTo>
                    <a:pt x="714" y="685"/>
                    <a:pt x="723" y="686"/>
                    <a:pt x="729" y="694"/>
                  </a:cubicBezTo>
                  <a:cubicBezTo>
                    <a:pt x="723" y="700"/>
                    <a:pt x="715" y="707"/>
                    <a:pt x="707" y="709"/>
                  </a:cubicBezTo>
                  <a:cubicBezTo>
                    <a:pt x="707" y="713"/>
                    <a:pt x="703" y="716"/>
                    <a:pt x="702" y="719"/>
                  </a:cubicBezTo>
                  <a:cubicBezTo>
                    <a:pt x="685" y="714"/>
                    <a:pt x="670" y="712"/>
                    <a:pt x="667" y="732"/>
                  </a:cubicBezTo>
                  <a:cubicBezTo>
                    <a:pt x="657" y="732"/>
                    <a:pt x="656" y="740"/>
                    <a:pt x="658" y="748"/>
                  </a:cubicBezTo>
                  <a:cubicBezTo>
                    <a:pt x="664" y="748"/>
                    <a:pt x="668" y="753"/>
                    <a:pt x="668" y="758"/>
                  </a:cubicBezTo>
                  <a:cubicBezTo>
                    <a:pt x="681" y="760"/>
                    <a:pt x="685" y="763"/>
                    <a:pt x="697" y="755"/>
                  </a:cubicBezTo>
                  <a:cubicBezTo>
                    <a:pt x="703" y="750"/>
                    <a:pt x="711" y="732"/>
                    <a:pt x="720" y="743"/>
                  </a:cubicBezTo>
                  <a:cubicBezTo>
                    <a:pt x="730" y="724"/>
                    <a:pt x="750" y="742"/>
                    <a:pt x="760" y="749"/>
                  </a:cubicBezTo>
                  <a:cubicBezTo>
                    <a:pt x="764" y="752"/>
                    <a:pt x="764" y="756"/>
                    <a:pt x="768" y="758"/>
                  </a:cubicBezTo>
                  <a:cubicBezTo>
                    <a:pt x="772" y="759"/>
                    <a:pt x="777" y="755"/>
                    <a:pt x="781" y="756"/>
                  </a:cubicBezTo>
                  <a:cubicBezTo>
                    <a:pt x="790" y="759"/>
                    <a:pt x="792" y="762"/>
                    <a:pt x="793" y="774"/>
                  </a:cubicBezTo>
                  <a:cubicBezTo>
                    <a:pt x="798" y="775"/>
                    <a:pt x="805" y="776"/>
                    <a:pt x="810" y="776"/>
                  </a:cubicBezTo>
                  <a:cubicBezTo>
                    <a:pt x="814" y="776"/>
                    <a:pt x="822" y="771"/>
                    <a:pt x="825" y="772"/>
                  </a:cubicBezTo>
                  <a:cubicBezTo>
                    <a:pt x="833" y="773"/>
                    <a:pt x="838" y="782"/>
                    <a:pt x="845" y="784"/>
                  </a:cubicBezTo>
                  <a:cubicBezTo>
                    <a:pt x="856" y="788"/>
                    <a:pt x="863" y="781"/>
                    <a:pt x="872" y="780"/>
                  </a:cubicBezTo>
                  <a:cubicBezTo>
                    <a:pt x="884" y="778"/>
                    <a:pt x="896" y="781"/>
                    <a:pt x="908" y="780"/>
                  </a:cubicBezTo>
                  <a:cubicBezTo>
                    <a:pt x="904" y="749"/>
                    <a:pt x="848" y="756"/>
                    <a:pt x="830" y="732"/>
                  </a:cubicBezTo>
                  <a:close/>
                  <a:moveTo>
                    <a:pt x="686" y="797"/>
                  </a:moveTo>
                  <a:cubicBezTo>
                    <a:pt x="688" y="798"/>
                    <a:pt x="688" y="798"/>
                    <a:pt x="688" y="798"/>
                  </a:cubicBezTo>
                  <a:cubicBezTo>
                    <a:pt x="687" y="797"/>
                    <a:pt x="686" y="797"/>
                    <a:pt x="686" y="796"/>
                  </a:cubicBezTo>
                  <a:cubicBezTo>
                    <a:pt x="685" y="796"/>
                    <a:pt x="684" y="795"/>
                    <a:pt x="683" y="795"/>
                  </a:cubicBezTo>
                  <a:cubicBezTo>
                    <a:pt x="683" y="795"/>
                    <a:pt x="683" y="795"/>
                    <a:pt x="683" y="795"/>
                  </a:cubicBezTo>
                  <a:cubicBezTo>
                    <a:pt x="680" y="795"/>
                    <a:pt x="677" y="795"/>
                    <a:pt x="675" y="797"/>
                  </a:cubicBezTo>
                  <a:cubicBezTo>
                    <a:pt x="677" y="811"/>
                    <a:pt x="693" y="808"/>
                    <a:pt x="687" y="799"/>
                  </a:cubicBezTo>
                  <a:cubicBezTo>
                    <a:pt x="687" y="798"/>
                    <a:pt x="687" y="797"/>
                    <a:pt x="686" y="797"/>
                  </a:cubicBezTo>
                  <a:close/>
                  <a:moveTo>
                    <a:pt x="679" y="632"/>
                  </a:moveTo>
                  <a:cubicBezTo>
                    <a:pt x="681" y="622"/>
                    <a:pt x="676" y="623"/>
                    <a:pt x="674" y="616"/>
                  </a:cubicBezTo>
                  <a:cubicBezTo>
                    <a:pt x="673" y="610"/>
                    <a:pt x="676" y="598"/>
                    <a:pt x="666" y="601"/>
                  </a:cubicBezTo>
                  <a:cubicBezTo>
                    <a:pt x="668" y="601"/>
                    <a:pt x="668" y="601"/>
                    <a:pt x="668" y="601"/>
                  </a:cubicBezTo>
                  <a:cubicBezTo>
                    <a:pt x="659" y="601"/>
                    <a:pt x="650" y="602"/>
                    <a:pt x="647" y="611"/>
                  </a:cubicBezTo>
                  <a:cubicBezTo>
                    <a:pt x="645" y="617"/>
                    <a:pt x="648" y="635"/>
                    <a:pt x="649" y="643"/>
                  </a:cubicBezTo>
                  <a:cubicBezTo>
                    <a:pt x="658" y="650"/>
                    <a:pt x="677" y="642"/>
                    <a:pt x="679" y="632"/>
                  </a:cubicBezTo>
                  <a:close/>
                  <a:moveTo>
                    <a:pt x="661" y="846"/>
                  </a:moveTo>
                  <a:cubicBezTo>
                    <a:pt x="646" y="848"/>
                    <a:pt x="660" y="874"/>
                    <a:pt x="664" y="880"/>
                  </a:cubicBezTo>
                  <a:cubicBezTo>
                    <a:pt x="676" y="876"/>
                    <a:pt x="674" y="845"/>
                    <a:pt x="661" y="846"/>
                  </a:cubicBezTo>
                  <a:close/>
                  <a:moveTo>
                    <a:pt x="613" y="790"/>
                  </a:moveTo>
                  <a:cubicBezTo>
                    <a:pt x="611" y="790"/>
                    <a:pt x="611" y="790"/>
                    <a:pt x="609" y="790"/>
                  </a:cubicBezTo>
                  <a:cubicBezTo>
                    <a:pt x="608" y="775"/>
                    <a:pt x="600" y="776"/>
                    <a:pt x="592" y="765"/>
                  </a:cubicBezTo>
                  <a:cubicBezTo>
                    <a:pt x="586" y="764"/>
                    <a:pt x="582" y="756"/>
                    <a:pt x="577" y="752"/>
                  </a:cubicBezTo>
                  <a:cubicBezTo>
                    <a:pt x="570" y="748"/>
                    <a:pt x="561" y="746"/>
                    <a:pt x="555" y="743"/>
                  </a:cubicBezTo>
                  <a:cubicBezTo>
                    <a:pt x="548" y="769"/>
                    <a:pt x="539" y="732"/>
                    <a:pt x="532" y="733"/>
                  </a:cubicBezTo>
                  <a:cubicBezTo>
                    <a:pt x="526" y="733"/>
                    <a:pt x="521" y="754"/>
                    <a:pt x="528" y="757"/>
                  </a:cubicBezTo>
                  <a:cubicBezTo>
                    <a:pt x="529" y="757"/>
                    <a:pt x="530" y="758"/>
                    <a:pt x="532" y="758"/>
                  </a:cubicBezTo>
                  <a:cubicBezTo>
                    <a:pt x="531" y="770"/>
                    <a:pt x="535" y="783"/>
                    <a:pt x="531" y="795"/>
                  </a:cubicBezTo>
                  <a:cubicBezTo>
                    <a:pt x="528" y="806"/>
                    <a:pt x="519" y="813"/>
                    <a:pt x="516" y="824"/>
                  </a:cubicBezTo>
                  <a:cubicBezTo>
                    <a:pt x="524" y="825"/>
                    <a:pt x="534" y="817"/>
                    <a:pt x="541" y="818"/>
                  </a:cubicBezTo>
                  <a:cubicBezTo>
                    <a:pt x="553" y="821"/>
                    <a:pt x="540" y="837"/>
                    <a:pt x="554" y="842"/>
                  </a:cubicBezTo>
                  <a:cubicBezTo>
                    <a:pt x="563" y="837"/>
                    <a:pt x="571" y="819"/>
                    <a:pt x="575" y="810"/>
                  </a:cubicBezTo>
                  <a:cubicBezTo>
                    <a:pt x="587" y="789"/>
                    <a:pt x="585" y="799"/>
                    <a:pt x="603" y="806"/>
                  </a:cubicBezTo>
                  <a:cubicBezTo>
                    <a:pt x="609" y="809"/>
                    <a:pt x="620" y="811"/>
                    <a:pt x="626" y="812"/>
                  </a:cubicBezTo>
                  <a:cubicBezTo>
                    <a:pt x="631" y="806"/>
                    <a:pt x="640" y="800"/>
                    <a:pt x="635" y="792"/>
                  </a:cubicBezTo>
                  <a:cubicBezTo>
                    <a:pt x="630" y="786"/>
                    <a:pt x="618" y="789"/>
                    <a:pt x="613" y="790"/>
                  </a:cubicBezTo>
                  <a:close/>
                  <a:moveTo>
                    <a:pt x="607" y="836"/>
                  </a:moveTo>
                  <a:cubicBezTo>
                    <a:pt x="608" y="837"/>
                    <a:pt x="608" y="837"/>
                    <a:pt x="608" y="837"/>
                  </a:cubicBezTo>
                  <a:cubicBezTo>
                    <a:pt x="599" y="838"/>
                    <a:pt x="589" y="837"/>
                    <a:pt x="585" y="846"/>
                  </a:cubicBezTo>
                  <a:cubicBezTo>
                    <a:pt x="580" y="854"/>
                    <a:pt x="585" y="873"/>
                    <a:pt x="598" y="870"/>
                  </a:cubicBezTo>
                  <a:cubicBezTo>
                    <a:pt x="604" y="868"/>
                    <a:pt x="615" y="849"/>
                    <a:pt x="616" y="842"/>
                  </a:cubicBezTo>
                  <a:cubicBezTo>
                    <a:pt x="618" y="834"/>
                    <a:pt x="616" y="827"/>
                    <a:pt x="607" y="836"/>
                  </a:cubicBezTo>
                  <a:close/>
                  <a:moveTo>
                    <a:pt x="547" y="417"/>
                  </a:moveTo>
                  <a:cubicBezTo>
                    <a:pt x="548" y="420"/>
                    <a:pt x="552" y="425"/>
                    <a:pt x="555" y="431"/>
                  </a:cubicBezTo>
                  <a:cubicBezTo>
                    <a:pt x="564" y="448"/>
                    <a:pt x="562" y="439"/>
                    <a:pt x="575" y="432"/>
                  </a:cubicBezTo>
                  <a:cubicBezTo>
                    <a:pt x="581" y="428"/>
                    <a:pt x="585" y="431"/>
                    <a:pt x="592" y="430"/>
                  </a:cubicBezTo>
                  <a:cubicBezTo>
                    <a:pt x="609" y="428"/>
                    <a:pt x="601" y="415"/>
                    <a:pt x="591" y="407"/>
                  </a:cubicBezTo>
                  <a:cubicBezTo>
                    <a:pt x="582" y="401"/>
                    <a:pt x="565" y="402"/>
                    <a:pt x="555" y="405"/>
                  </a:cubicBezTo>
                  <a:cubicBezTo>
                    <a:pt x="546" y="408"/>
                    <a:pt x="545" y="412"/>
                    <a:pt x="547" y="417"/>
                  </a:cubicBezTo>
                  <a:close/>
                  <a:moveTo>
                    <a:pt x="480" y="741"/>
                  </a:moveTo>
                  <a:cubicBezTo>
                    <a:pt x="490" y="747"/>
                    <a:pt x="495" y="758"/>
                    <a:pt x="509" y="750"/>
                  </a:cubicBezTo>
                  <a:cubicBezTo>
                    <a:pt x="520" y="745"/>
                    <a:pt x="523" y="729"/>
                    <a:pt x="528" y="719"/>
                  </a:cubicBezTo>
                  <a:cubicBezTo>
                    <a:pt x="526" y="718"/>
                    <a:pt x="512" y="710"/>
                    <a:pt x="510" y="711"/>
                  </a:cubicBezTo>
                  <a:cubicBezTo>
                    <a:pt x="515" y="708"/>
                    <a:pt x="533" y="697"/>
                    <a:pt x="535" y="710"/>
                  </a:cubicBezTo>
                  <a:cubicBezTo>
                    <a:pt x="552" y="711"/>
                    <a:pt x="558" y="701"/>
                    <a:pt x="569" y="690"/>
                  </a:cubicBezTo>
                  <a:cubicBezTo>
                    <a:pt x="580" y="680"/>
                    <a:pt x="595" y="673"/>
                    <a:pt x="590" y="656"/>
                  </a:cubicBezTo>
                  <a:cubicBezTo>
                    <a:pt x="589" y="653"/>
                    <a:pt x="559" y="614"/>
                    <a:pt x="560" y="614"/>
                  </a:cubicBezTo>
                  <a:cubicBezTo>
                    <a:pt x="585" y="612"/>
                    <a:pt x="571" y="588"/>
                    <a:pt x="560" y="578"/>
                  </a:cubicBezTo>
                  <a:cubicBezTo>
                    <a:pt x="546" y="582"/>
                    <a:pt x="537" y="565"/>
                    <a:pt x="524" y="576"/>
                  </a:cubicBezTo>
                  <a:cubicBezTo>
                    <a:pt x="519" y="573"/>
                    <a:pt x="515" y="574"/>
                    <a:pt x="510" y="572"/>
                  </a:cubicBezTo>
                  <a:cubicBezTo>
                    <a:pt x="508" y="579"/>
                    <a:pt x="508" y="585"/>
                    <a:pt x="512" y="592"/>
                  </a:cubicBezTo>
                  <a:cubicBezTo>
                    <a:pt x="514" y="592"/>
                    <a:pt x="517" y="592"/>
                    <a:pt x="519" y="592"/>
                  </a:cubicBezTo>
                  <a:cubicBezTo>
                    <a:pt x="524" y="606"/>
                    <a:pt x="520" y="636"/>
                    <a:pt x="517" y="650"/>
                  </a:cubicBezTo>
                  <a:cubicBezTo>
                    <a:pt x="502" y="713"/>
                    <a:pt x="464" y="648"/>
                    <a:pt x="482" y="626"/>
                  </a:cubicBezTo>
                  <a:cubicBezTo>
                    <a:pt x="472" y="618"/>
                    <a:pt x="466" y="608"/>
                    <a:pt x="456" y="601"/>
                  </a:cubicBezTo>
                  <a:cubicBezTo>
                    <a:pt x="455" y="614"/>
                    <a:pt x="464" y="633"/>
                    <a:pt x="456" y="642"/>
                  </a:cubicBezTo>
                  <a:cubicBezTo>
                    <a:pt x="453" y="641"/>
                    <a:pt x="448" y="639"/>
                    <a:pt x="446" y="638"/>
                  </a:cubicBezTo>
                  <a:cubicBezTo>
                    <a:pt x="447" y="619"/>
                    <a:pt x="440" y="593"/>
                    <a:pt x="416" y="600"/>
                  </a:cubicBezTo>
                  <a:cubicBezTo>
                    <a:pt x="412" y="583"/>
                    <a:pt x="418" y="567"/>
                    <a:pt x="415" y="551"/>
                  </a:cubicBezTo>
                  <a:cubicBezTo>
                    <a:pt x="414" y="543"/>
                    <a:pt x="405" y="520"/>
                    <a:pt x="399" y="510"/>
                  </a:cubicBezTo>
                  <a:cubicBezTo>
                    <a:pt x="390" y="511"/>
                    <a:pt x="382" y="507"/>
                    <a:pt x="374" y="505"/>
                  </a:cubicBezTo>
                  <a:cubicBezTo>
                    <a:pt x="374" y="516"/>
                    <a:pt x="365" y="533"/>
                    <a:pt x="362" y="542"/>
                  </a:cubicBezTo>
                  <a:cubicBezTo>
                    <a:pt x="354" y="578"/>
                    <a:pt x="381" y="581"/>
                    <a:pt x="392" y="613"/>
                  </a:cubicBezTo>
                  <a:cubicBezTo>
                    <a:pt x="400" y="634"/>
                    <a:pt x="398" y="627"/>
                    <a:pt x="384" y="647"/>
                  </a:cubicBezTo>
                  <a:cubicBezTo>
                    <a:pt x="374" y="661"/>
                    <a:pt x="374" y="667"/>
                    <a:pt x="369" y="686"/>
                  </a:cubicBezTo>
                  <a:cubicBezTo>
                    <a:pt x="368" y="689"/>
                    <a:pt x="359" y="679"/>
                    <a:pt x="359" y="678"/>
                  </a:cubicBezTo>
                  <a:cubicBezTo>
                    <a:pt x="353" y="668"/>
                    <a:pt x="355" y="655"/>
                    <a:pt x="363" y="646"/>
                  </a:cubicBezTo>
                  <a:cubicBezTo>
                    <a:pt x="358" y="652"/>
                    <a:pt x="347" y="642"/>
                    <a:pt x="345" y="641"/>
                  </a:cubicBezTo>
                  <a:cubicBezTo>
                    <a:pt x="333" y="636"/>
                    <a:pt x="323" y="641"/>
                    <a:pt x="326" y="656"/>
                  </a:cubicBezTo>
                  <a:cubicBezTo>
                    <a:pt x="336" y="654"/>
                    <a:pt x="337" y="658"/>
                    <a:pt x="344" y="662"/>
                  </a:cubicBezTo>
                  <a:cubicBezTo>
                    <a:pt x="333" y="677"/>
                    <a:pt x="326" y="664"/>
                    <a:pt x="315" y="663"/>
                  </a:cubicBezTo>
                  <a:cubicBezTo>
                    <a:pt x="302" y="661"/>
                    <a:pt x="288" y="667"/>
                    <a:pt x="276" y="664"/>
                  </a:cubicBezTo>
                  <a:cubicBezTo>
                    <a:pt x="255" y="659"/>
                    <a:pt x="206" y="599"/>
                    <a:pt x="187" y="642"/>
                  </a:cubicBezTo>
                  <a:cubicBezTo>
                    <a:pt x="185" y="645"/>
                    <a:pt x="185" y="682"/>
                    <a:pt x="185" y="682"/>
                  </a:cubicBezTo>
                  <a:cubicBezTo>
                    <a:pt x="179" y="682"/>
                    <a:pt x="177" y="680"/>
                    <a:pt x="173" y="676"/>
                  </a:cubicBezTo>
                  <a:cubicBezTo>
                    <a:pt x="189" y="627"/>
                    <a:pt x="98" y="630"/>
                    <a:pt x="75" y="608"/>
                  </a:cubicBezTo>
                  <a:cubicBezTo>
                    <a:pt x="78" y="602"/>
                    <a:pt x="79" y="601"/>
                    <a:pt x="85" y="600"/>
                  </a:cubicBezTo>
                  <a:cubicBezTo>
                    <a:pt x="100" y="610"/>
                    <a:pt x="101" y="587"/>
                    <a:pt x="95" y="578"/>
                  </a:cubicBezTo>
                  <a:cubicBezTo>
                    <a:pt x="88" y="568"/>
                    <a:pt x="73" y="567"/>
                    <a:pt x="62" y="566"/>
                  </a:cubicBezTo>
                  <a:cubicBezTo>
                    <a:pt x="54" y="550"/>
                    <a:pt x="40" y="538"/>
                    <a:pt x="26" y="526"/>
                  </a:cubicBezTo>
                  <a:cubicBezTo>
                    <a:pt x="25" y="527"/>
                    <a:pt x="24" y="527"/>
                    <a:pt x="23" y="528"/>
                  </a:cubicBezTo>
                  <a:cubicBezTo>
                    <a:pt x="13" y="535"/>
                    <a:pt x="0" y="566"/>
                    <a:pt x="1" y="578"/>
                  </a:cubicBezTo>
                  <a:cubicBezTo>
                    <a:pt x="2" y="597"/>
                    <a:pt x="23" y="607"/>
                    <a:pt x="35" y="621"/>
                  </a:cubicBezTo>
                  <a:cubicBezTo>
                    <a:pt x="49" y="637"/>
                    <a:pt x="43" y="655"/>
                    <a:pt x="56" y="670"/>
                  </a:cubicBezTo>
                  <a:cubicBezTo>
                    <a:pt x="68" y="683"/>
                    <a:pt x="76" y="704"/>
                    <a:pt x="88" y="715"/>
                  </a:cubicBezTo>
                  <a:cubicBezTo>
                    <a:pt x="97" y="723"/>
                    <a:pt x="111" y="718"/>
                    <a:pt x="119" y="726"/>
                  </a:cubicBezTo>
                  <a:cubicBezTo>
                    <a:pt x="126" y="732"/>
                    <a:pt x="125" y="746"/>
                    <a:pt x="127" y="755"/>
                  </a:cubicBezTo>
                  <a:cubicBezTo>
                    <a:pt x="144" y="761"/>
                    <a:pt x="163" y="765"/>
                    <a:pt x="181" y="771"/>
                  </a:cubicBezTo>
                  <a:cubicBezTo>
                    <a:pt x="207" y="779"/>
                    <a:pt x="250" y="805"/>
                    <a:pt x="250" y="805"/>
                  </a:cubicBezTo>
                  <a:cubicBezTo>
                    <a:pt x="250" y="805"/>
                    <a:pt x="248" y="867"/>
                    <a:pt x="243" y="893"/>
                  </a:cubicBezTo>
                  <a:cubicBezTo>
                    <a:pt x="240" y="916"/>
                    <a:pt x="236" y="940"/>
                    <a:pt x="234" y="963"/>
                  </a:cubicBezTo>
                  <a:cubicBezTo>
                    <a:pt x="282" y="969"/>
                    <a:pt x="332" y="973"/>
                    <a:pt x="384" y="974"/>
                  </a:cubicBezTo>
                  <a:cubicBezTo>
                    <a:pt x="391" y="939"/>
                    <a:pt x="406" y="900"/>
                    <a:pt x="426" y="872"/>
                  </a:cubicBezTo>
                  <a:cubicBezTo>
                    <a:pt x="434" y="862"/>
                    <a:pt x="464" y="858"/>
                    <a:pt x="448" y="840"/>
                  </a:cubicBezTo>
                  <a:cubicBezTo>
                    <a:pt x="439" y="829"/>
                    <a:pt x="411" y="827"/>
                    <a:pt x="398" y="826"/>
                  </a:cubicBezTo>
                  <a:cubicBezTo>
                    <a:pt x="397" y="806"/>
                    <a:pt x="434" y="824"/>
                    <a:pt x="443" y="827"/>
                  </a:cubicBezTo>
                  <a:cubicBezTo>
                    <a:pt x="453" y="831"/>
                    <a:pt x="457" y="835"/>
                    <a:pt x="466" y="822"/>
                  </a:cubicBezTo>
                  <a:cubicBezTo>
                    <a:pt x="472" y="813"/>
                    <a:pt x="475" y="809"/>
                    <a:pt x="489" y="813"/>
                  </a:cubicBezTo>
                  <a:cubicBezTo>
                    <a:pt x="496" y="804"/>
                    <a:pt x="503" y="790"/>
                    <a:pt x="508" y="779"/>
                  </a:cubicBezTo>
                  <a:cubicBezTo>
                    <a:pt x="510" y="773"/>
                    <a:pt x="512" y="765"/>
                    <a:pt x="506" y="761"/>
                  </a:cubicBezTo>
                  <a:cubicBezTo>
                    <a:pt x="499" y="756"/>
                    <a:pt x="494" y="762"/>
                    <a:pt x="488" y="762"/>
                  </a:cubicBezTo>
                  <a:cubicBezTo>
                    <a:pt x="472" y="762"/>
                    <a:pt x="459" y="745"/>
                    <a:pt x="446" y="738"/>
                  </a:cubicBezTo>
                  <a:cubicBezTo>
                    <a:pt x="454" y="742"/>
                    <a:pt x="470" y="736"/>
                    <a:pt x="480" y="741"/>
                  </a:cubicBezTo>
                  <a:close/>
                  <a:moveTo>
                    <a:pt x="415" y="112"/>
                  </a:moveTo>
                  <a:cubicBezTo>
                    <a:pt x="420" y="116"/>
                    <a:pt x="434" y="108"/>
                    <a:pt x="441" y="105"/>
                  </a:cubicBezTo>
                  <a:cubicBezTo>
                    <a:pt x="438" y="115"/>
                    <a:pt x="431" y="131"/>
                    <a:pt x="446" y="132"/>
                  </a:cubicBezTo>
                  <a:cubicBezTo>
                    <a:pt x="453" y="133"/>
                    <a:pt x="466" y="124"/>
                    <a:pt x="472" y="120"/>
                  </a:cubicBezTo>
                  <a:cubicBezTo>
                    <a:pt x="476" y="117"/>
                    <a:pt x="490" y="100"/>
                    <a:pt x="492" y="112"/>
                  </a:cubicBezTo>
                  <a:cubicBezTo>
                    <a:pt x="494" y="124"/>
                    <a:pt x="472" y="126"/>
                    <a:pt x="470" y="134"/>
                  </a:cubicBezTo>
                  <a:cubicBezTo>
                    <a:pt x="468" y="141"/>
                    <a:pt x="482" y="155"/>
                    <a:pt x="483" y="165"/>
                  </a:cubicBezTo>
                  <a:cubicBezTo>
                    <a:pt x="469" y="161"/>
                    <a:pt x="466" y="148"/>
                    <a:pt x="454" y="145"/>
                  </a:cubicBezTo>
                  <a:cubicBezTo>
                    <a:pt x="436" y="140"/>
                    <a:pt x="440" y="156"/>
                    <a:pt x="448" y="165"/>
                  </a:cubicBezTo>
                  <a:cubicBezTo>
                    <a:pt x="451" y="169"/>
                    <a:pt x="456" y="171"/>
                    <a:pt x="459" y="176"/>
                  </a:cubicBezTo>
                  <a:cubicBezTo>
                    <a:pt x="462" y="182"/>
                    <a:pt x="460" y="187"/>
                    <a:pt x="466" y="192"/>
                  </a:cubicBezTo>
                  <a:cubicBezTo>
                    <a:pt x="470" y="195"/>
                    <a:pt x="481" y="192"/>
                    <a:pt x="481" y="199"/>
                  </a:cubicBezTo>
                  <a:cubicBezTo>
                    <a:pt x="481" y="207"/>
                    <a:pt x="471" y="205"/>
                    <a:pt x="467" y="206"/>
                  </a:cubicBezTo>
                  <a:cubicBezTo>
                    <a:pt x="449" y="208"/>
                    <a:pt x="441" y="215"/>
                    <a:pt x="441" y="235"/>
                  </a:cubicBezTo>
                  <a:cubicBezTo>
                    <a:pt x="446" y="241"/>
                    <a:pt x="449" y="236"/>
                    <a:pt x="455" y="238"/>
                  </a:cubicBezTo>
                  <a:cubicBezTo>
                    <a:pt x="464" y="241"/>
                    <a:pt x="457" y="240"/>
                    <a:pt x="462" y="247"/>
                  </a:cubicBezTo>
                  <a:cubicBezTo>
                    <a:pt x="470" y="256"/>
                    <a:pt x="471" y="245"/>
                    <a:pt x="478" y="248"/>
                  </a:cubicBezTo>
                  <a:cubicBezTo>
                    <a:pt x="489" y="253"/>
                    <a:pt x="479" y="260"/>
                    <a:pt x="471" y="260"/>
                  </a:cubicBezTo>
                  <a:cubicBezTo>
                    <a:pt x="463" y="260"/>
                    <a:pt x="462" y="257"/>
                    <a:pt x="456" y="253"/>
                  </a:cubicBezTo>
                  <a:cubicBezTo>
                    <a:pt x="456" y="252"/>
                    <a:pt x="456" y="250"/>
                    <a:pt x="456" y="249"/>
                  </a:cubicBezTo>
                  <a:cubicBezTo>
                    <a:pt x="443" y="244"/>
                    <a:pt x="442" y="255"/>
                    <a:pt x="439" y="264"/>
                  </a:cubicBezTo>
                  <a:cubicBezTo>
                    <a:pt x="463" y="274"/>
                    <a:pt x="420" y="287"/>
                    <a:pt x="439" y="306"/>
                  </a:cubicBezTo>
                  <a:cubicBezTo>
                    <a:pt x="447" y="306"/>
                    <a:pt x="457" y="305"/>
                    <a:pt x="464" y="306"/>
                  </a:cubicBezTo>
                  <a:cubicBezTo>
                    <a:pt x="471" y="306"/>
                    <a:pt x="475" y="311"/>
                    <a:pt x="480" y="300"/>
                  </a:cubicBezTo>
                  <a:cubicBezTo>
                    <a:pt x="490" y="304"/>
                    <a:pt x="500" y="294"/>
                    <a:pt x="512" y="293"/>
                  </a:cubicBezTo>
                  <a:cubicBezTo>
                    <a:pt x="512" y="298"/>
                    <a:pt x="512" y="303"/>
                    <a:pt x="514" y="307"/>
                  </a:cubicBezTo>
                  <a:cubicBezTo>
                    <a:pt x="521" y="301"/>
                    <a:pt x="555" y="272"/>
                    <a:pt x="533" y="266"/>
                  </a:cubicBezTo>
                  <a:cubicBezTo>
                    <a:pt x="530" y="271"/>
                    <a:pt x="527" y="273"/>
                    <a:pt x="522" y="273"/>
                  </a:cubicBezTo>
                  <a:cubicBezTo>
                    <a:pt x="522" y="271"/>
                    <a:pt x="522" y="270"/>
                    <a:pt x="523" y="268"/>
                  </a:cubicBezTo>
                  <a:cubicBezTo>
                    <a:pt x="514" y="262"/>
                    <a:pt x="499" y="269"/>
                    <a:pt x="496" y="254"/>
                  </a:cubicBezTo>
                  <a:cubicBezTo>
                    <a:pt x="506" y="254"/>
                    <a:pt x="512" y="262"/>
                    <a:pt x="523" y="254"/>
                  </a:cubicBezTo>
                  <a:cubicBezTo>
                    <a:pt x="533" y="245"/>
                    <a:pt x="522" y="240"/>
                    <a:pt x="526" y="228"/>
                  </a:cubicBezTo>
                  <a:cubicBezTo>
                    <a:pt x="532" y="227"/>
                    <a:pt x="550" y="219"/>
                    <a:pt x="534" y="218"/>
                  </a:cubicBezTo>
                  <a:cubicBezTo>
                    <a:pt x="533" y="208"/>
                    <a:pt x="546" y="215"/>
                    <a:pt x="544" y="203"/>
                  </a:cubicBezTo>
                  <a:cubicBezTo>
                    <a:pt x="541" y="203"/>
                    <a:pt x="538" y="201"/>
                    <a:pt x="535" y="202"/>
                  </a:cubicBezTo>
                  <a:cubicBezTo>
                    <a:pt x="540" y="195"/>
                    <a:pt x="543" y="190"/>
                    <a:pt x="533" y="184"/>
                  </a:cubicBezTo>
                  <a:cubicBezTo>
                    <a:pt x="529" y="184"/>
                    <a:pt x="526" y="183"/>
                    <a:pt x="523" y="182"/>
                  </a:cubicBezTo>
                  <a:cubicBezTo>
                    <a:pt x="523" y="179"/>
                    <a:pt x="522" y="180"/>
                    <a:pt x="521" y="179"/>
                  </a:cubicBezTo>
                  <a:cubicBezTo>
                    <a:pt x="521" y="174"/>
                    <a:pt x="518" y="173"/>
                    <a:pt x="513" y="174"/>
                  </a:cubicBezTo>
                  <a:cubicBezTo>
                    <a:pt x="517" y="168"/>
                    <a:pt x="523" y="169"/>
                    <a:pt x="527" y="165"/>
                  </a:cubicBezTo>
                  <a:cubicBezTo>
                    <a:pt x="530" y="163"/>
                    <a:pt x="533" y="151"/>
                    <a:pt x="534" y="147"/>
                  </a:cubicBezTo>
                  <a:cubicBezTo>
                    <a:pt x="534" y="148"/>
                    <a:pt x="550" y="143"/>
                    <a:pt x="551" y="142"/>
                  </a:cubicBezTo>
                  <a:cubicBezTo>
                    <a:pt x="557" y="136"/>
                    <a:pt x="554" y="124"/>
                    <a:pt x="546" y="122"/>
                  </a:cubicBezTo>
                  <a:cubicBezTo>
                    <a:pt x="550" y="114"/>
                    <a:pt x="554" y="111"/>
                    <a:pt x="556" y="102"/>
                  </a:cubicBezTo>
                  <a:cubicBezTo>
                    <a:pt x="557" y="95"/>
                    <a:pt x="558" y="88"/>
                    <a:pt x="561" y="80"/>
                  </a:cubicBezTo>
                  <a:cubicBezTo>
                    <a:pt x="561" y="80"/>
                    <a:pt x="562" y="80"/>
                    <a:pt x="562" y="81"/>
                  </a:cubicBezTo>
                  <a:cubicBezTo>
                    <a:pt x="564" y="77"/>
                    <a:pt x="564" y="58"/>
                    <a:pt x="564" y="54"/>
                  </a:cubicBezTo>
                  <a:cubicBezTo>
                    <a:pt x="553" y="56"/>
                    <a:pt x="553" y="74"/>
                    <a:pt x="543" y="78"/>
                  </a:cubicBezTo>
                  <a:cubicBezTo>
                    <a:pt x="542" y="68"/>
                    <a:pt x="543" y="60"/>
                    <a:pt x="540" y="51"/>
                  </a:cubicBezTo>
                  <a:cubicBezTo>
                    <a:pt x="543" y="51"/>
                    <a:pt x="545" y="51"/>
                    <a:pt x="549" y="53"/>
                  </a:cubicBezTo>
                  <a:cubicBezTo>
                    <a:pt x="558" y="42"/>
                    <a:pt x="567" y="22"/>
                    <a:pt x="553" y="10"/>
                  </a:cubicBezTo>
                  <a:cubicBezTo>
                    <a:pt x="542" y="1"/>
                    <a:pt x="529" y="18"/>
                    <a:pt x="521" y="11"/>
                  </a:cubicBezTo>
                  <a:cubicBezTo>
                    <a:pt x="516" y="7"/>
                    <a:pt x="523" y="5"/>
                    <a:pt x="515" y="1"/>
                  </a:cubicBezTo>
                  <a:cubicBezTo>
                    <a:pt x="510" y="0"/>
                    <a:pt x="506" y="2"/>
                    <a:pt x="502" y="4"/>
                  </a:cubicBezTo>
                  <a:cubicBezTo>
                    <a:pt x="497" y="6"/>
                    <a:pt x="484" y="10"/>
                    <a:pt x="480" y="13"/>
                  </a:cubicBezTo>
                  <a:cubicBezTo>
                    <a:pt x="475" y="17"/>
                    <a:pt x="477" y="18"/>
                    <a:pt x="475" y="24"/>
                  </a:cubicBezTo>
                  <a:cubicBezTo>
                    <a:pt x="472" y="29"/>
                    <a:pt x="466" y="31"/>
                    <a:pt x="461" y="29"/>
                  </a:cubicBezTo>
                  <a:cubicBezTo>
                    <a:pt x="456" y="35"/>
                    <a:pt x="455" y="39"/>
                    <a:pt x="452" y="46"/>
                  </a:cubicBezTo>
                  <a:cubicBezTo>
                    <a:pt x="447" y="56"/>
                    <a:pt x="446" y="56"/>
                    <a:pt x="435" y="51"/>
                  </a:cubicBezTo>
                  <a:cubicBezTo>
                    <a:pt x="433" y="52"/>
                    <a:pt x="431" y="56"/>
                    <a:pt x="430" y="58"/>
                  </a:cubicBezTo>
                  <a:cubicBezTo>
                    <a:pt x="432" y="61"/>
                    <a:pt x="434" y="65"/>
                    <a:pt x="436" y="68"/>
                  </a:cubicBezTo>
                  <a:cubicBezTo>
                    <a:pt x="435" y="69"/>
                    <a:pt x="434" y="70"/>
                    <a:pt x="433" y="71"/>
                  </a:cubicBezTo>
                  <a:cubicBezTo>
                    <a:pt x="424" y="66"/>
                    <a:pt x="424" y="72"/>
                    <a:pt x="418" y="76"/>
                  </a:cubicBezTo>
                  <a:cubicBezTo>
                    <a:pt x="413" y="79"/>
                    <a:pt x="407" y="79"/>
                    <a:pt x="402" y="83"/>
                  </a:cubicBezTo>
                  <a:cubicBezTo>
                    <a:pt x="401" y="84"/>
                    <a:pt x="401" y="88"/>
                    <a:pt x="401" y="89"/>
                  </a:cubicBezTo>
                  <a:cubicBezTo>
                    <a:pt x="415" y="89"/>
                    <a:pt x="406" y="106"/>
                    <a:pt x="415" y="112"/>
                  </a:cubicBezTo>
                  <a:close/>
                  <a:moveTo>
                    <a:pt x="459" y="386"/>
                  </a:moveTo>
                  <a:cubicBezTo>
                    <a:pt x="466" y="388"/>
                    <a:pt x="476" y="385"/>
                    <a:pt x="483" y="384"/>
                  </a:cubicBezTo>
                  <a:cubicBezTo>
                    <a:pt x="493" y="382"/>
                    <a:pt x="500" y="373"/>
                    <a:pt x="510" y="372"/>
                  </a:cubicBezTo>
                  <a:cubicBezTo>
                    <a:pt x="516" y="371"/>
                    <a:pt x="518" y="378"/>
                    <a:pt x="526" y="374"/>
                  </a:cubicBezTo>
                  <a:cubicBezTo>
                    <a:pt x="536" y="370"/>
                    <a:pt x="537" y="357"/>
                    <a:pt x="533" y="348"/>
                  </a:cubicBezTo>
                  <a:cubicBezTo>
                    <a:pt x="531" y="343"/>
                    <a:pt x="538" y="338"/>
                    <a:pt x="532" y="331"/>
                  </a:cubicBezTo>
                  <a:cubicBezTo>
                    <a:pt x="527" y="326"/>
                    <a:pt x="522" y="327"/>
                    <a:pt x="516" y="326"/>
                  </a:cubicBezTo>
                  <a:cubicBezTo>
                    <a:pt x="508" y="325"/>
                    <a:pt x="497" y="326"/>
                    <a:pt x="490" y="329"/>
                  </a:cubicBezTo>
                  <a:cubicBezTo>
                    <a:pt x="486" y="331"/>
                    <a:pt x="484" y="335"/>
                    <a:pt x="481" y="336"/>
                  </a:cubicBezTo>
                  <a:cubicBezTo>
                    <a:pt x="479" y="336"/>
                    <a:pt x="474" y="336"/>
                    <a:pt x="473" y="336"/>
                  </a:cubicBezTo>
                  <a:cubicBezTo>
                    <a:pt x="464" y="340"/>
                    <a:pt x="464" y="344"/>
                    <a:pt x="454" y="344"/>
                  </a:cubicBezTo>
                  <a:cubicBezTo>
                    <a:pt x="439" y="345"/>
                    <a:pt x="445" y="338"/>
                    <a:pt x="437" y="333"/>
                  </a:cubicBezTo>
                  <a:cubicBezTo>
                    <a:pt x="429" y="328"/>
                    <a:pt x="420" y="338"/>
                    <a:pt x="419" y="326"/>
                  </a:cubicBezTo>
                  <a:cubicBezTo>
                    <a:pt x="418" y="318"/>
                    <a:pt x="428" y="316"/>
                    <a:pt x="426" y="309"/>
                  </a:cubicBezTo>
                  <a:cubicBezTo>
                    <a:pt x="426" y="310"/>
                    <a:pt x="412" y="300"/>
                    <a:pt x="413" y="300"/>
                  </a:cubicBezTo>
                  <a:cubicBezTo>
                    <a:pt x="406" y="298"/>
                    <a:pt x="401" y="304"/>
                    <a:pt x="394" y="304"/>
                  </a:cubicBezTo>
                  <a:cubicBezTo>
                    <a:pt x="394" y="298"/>
                    <a:pt x="394" y="296"/>
                    <a:pt x="388" y="295"/>
                  </a:cubicBezTo>
                  <a:cubicBezTo>
                    <a:pt x="385" y="294"/>
                    <a:pt x="385" y="294"/>
                    <a:pt x="385" y="294"/>
                  </a:cubicBezTo>
                  <a:cubicBezTo>
                    <a:pt x="374" y="284"/>
                    <a:pt x="361" y="282"/>
                    <a:pt x="363" y="300"/>
                  </a:cubicBezTo>
                  <a:cubicBezTo>
                    <a:pt x="370" y="305"/>
                    <a:pt x="378" y="314"/>
                    <a:pt x="386" y="317"/>
                  </a:cubicBezTo>
                  <a:cubicBezTo>
                    <a:pt x="393" y="318"/>
                    <a:pt x="396" y="313"/>
                    <a:pt x="401" y="319"/>
                  </a:cubicBezTo>
                  <a:cubicBezTo>
                    <a:pt x="413" y="335"/>
                    <a:pt x="402" y="377"/>
                    <a:pt x="423" y="385"/>
                  </a:cubicBezTo>
                  <a:cubicBezTo>
                    <a:pt x="435" y="389"/>
                    <a:pt x="437" y="381"/>
                    <a:pt x="445" y="376"/>
                  </a:cubicBezTo>
                  <a:cubicBezTo>
                    <a:pt x="451" y="379"/>
                    <a:pt x="452" y="384"/>
                    <a:pt x="459" y="386"/>
                  </a:cubicBezTo>
                  <a:close/>
                  <a:moveTo>
                    <a:pt x="392" y="199"/>
                  </a:moveTo>
                  <a:cubicBezTo>
                    <a:pt x="391" y="200"/>
                    <a:pt x="388" y="200"/>
                    <a:pt x="386" y="203"/>
                  </a:cubicBezTo>
                  <a:cubicBezTo>
                    <a:pt x="385" y="206"/>
                    <a:pt x="387" y="218"/>
                    <a:pt x="387" y="220"/>
                  </a:cubicBezTo>
                  <a:cubicBezTo>
                    <a:pt x="391" y="220"/>
                    <a:pt x="394" y="221"/>
                    <a:pt x="397" y="219"/>
                  </a:cubicBezTo>
                  <a:cubicBezTo>
                    <a:pt x="401" y="224"/>
                    <a:pt x="400" y="233"/>
                    <a:pt x="407" y="235"/>
                  </a:cubicBezTo>
                  <a:cubicBezTo>
                    <a:pt x="413" y="237"/>
                    <a:pt x="422" y="231"/>
                    <a:pt x="425" y="227"/>
                  </a:cubicBezTo>
                  <a:cubicBezTo>
                    <a:pt x="433" y="217"/>
                    <a:pt x="456" y="195"/>
                    <a:pt x="453" y="181"/>
                  </a:cubicBezTo>
                  <a:cubicBezTo>
                    <a:pt x="452" y="174"/>
                    <a:pt x="441" y="168"/>
                    <a:pt x="436" y="164"/>
                  </a:cubicBezTo>
                  <a:cubicBezTo>
                    <a:pt x="431" y="161"/>
                    <a:pt x="424" y="158"/>
                    <a:pt x="420" y="154"/>
                  </a:cubicBezTo>
                  <a:cubicBezTo>
                    <a:pt x="412" y="146"/>
                    <a:pt x="402" y="97"/>
                    <a:pt x="385" y="106"/>
                  </a:cubicBezTo>
                  <a:cubicBezTo>
                    <a:pt x="390" y="105"/>
                    <a:pt x="390" y="105"/>
                    <a:pt x="390" y="105"/>
                  </a:cubicBezTo>
                  <a:cubicBezTo>
                    <a:pt x="384" y="110"/>
                    <a:pt x="376" y="121"/>
                    <a:pt x="377" y="129"/>
                  </a:cubicBezTo>
                  <a:cubicBezTo>
                    <a:pt x="377" y="141"/>
                    <a:pt x="387" y="146"/>
                    <a:pt x="379" y="159"/>
                  </a:cubicBezTo>
                  <a:cubicBezTo>
                    <a:pt x="358" y="156"/>
                    <a:pt x="372" y="175"/>
                    <a:pt x="374" y="187"/>
                  </a:cubicBezTo>
                  <a:cubicBezTo>
                    <a:pt x="385" y="190"/>
                    <a:pt x="406" y="179"/>
                    <a:pt x="392" y="199"/>
                  </a:cubicBezTo>
                  <a:close/>
                  <a:moveTo>
                    <a:pt x="411" y="461"/>
                  </a:moveTo>
                  <a:cubicBezTo>
                    <a:pt x="419" y="458"/>
                    <a:pt x="436" y="419"/>
                    <a:pt x="428" y="413"/>
                  </a:cubicBezTo>
                  <a:cubicBezTo>
                    <a:pt x="418" y="405"/>
                    <a:pt x="404" y="420"/>
                    <a:pt x="398" y="405"/>
                  </a:cubicBezTo>
                  <a:cubicBezTo>
                    <a:pt x="393" y="394"/>
                    <a:pt x="371" y="427"/>
                    <a:pt x="370" y="432"/>
                  </a:cubicBezTo>
                  <a:cubicBezTo>
                    <a:pt x="367" y="442"/>
                    <a:pt x="369" y="458"/>
                    <a:pt x="370" y="468"/>
                  </a:cubicBezTo>
                  <a:cubicBezTo>
                    <a:pt x="382" y="469"/>
                    <a:pt x="376" y="489"/>
                    <a:pt x="385" y="495"/>
                  </a:cubicBezTo>
                  <a:cubicBezTo>
                    <a:pt x="396" y="486"/>
                    <a:pt x="388" y="477"/>
                    <a:pt x="392" y="466"/>
                  </a:cubicBezTo>
                  <a:cubicBezTo>
                    <a:pt x="396" y="453"/>
                    <a:pt x="401" y="465"/>
                    <a:pt x="411" y="461"/>
                  </a:cubicBezTo>
                  <a:close/>
                  <a:moveTo>
                    <a:pt x="423" y="261"/>
                  </a:moveTo>
                  <a:cubicBezTo>
                    <a:pt x="423" y="264"/>
                    <a:pt x="423" y="264"/>
                    <a:pt x="423" y="264"/>
                  </a:cubicBezTo>
                  <a:cubicBezTo>
                    <a:pt x="417" y="262"/>
                    <a:pt x="413" y="266"/>
                    <a:pt x="412" y="271"/>
                  </a:cubicBezTo>
                  <a:cubicBezTo>
                    <a:pt x="417" y="273"/>
                    <a:pt x="422" y="274"/>
                    <a:pt x="427" y="274"/>
                  </a:cubicBezTo>
                  <a:cubicBezTo>
                    <a:pt x="429" y="269"/>
                    <a:pt x="427" y="264"/>
                    <a:pt x="423" y="261"/>
                  </a:cubicBezTo>
                  <a:close/>
                  <a:moveTo>
                    <a:pt x="392" y="270"/>
                  </a:moveTo>
                  <a:cubicBezTo>
                    <a:pt x="404" y="262"/>
                    <a:pt x="388" y="253"/>
                    <a:pt x="380" y="255"/>
                  </a:cubicBezTo>
                  <a:cubicBezTo>
                    <a:pt x="373" y="255"/>
                    <a:pt x="365" y="257"/>
                    <a:pt x="367" y="264"/>
                  </a:cubicBezTo>
                  <a:cubicBezTo>
                    <a:pt x="373" y="264"/>
                    <a:pt x="376" y="266"/>
                    <a:pt x="380" y="267"/>
                  </a:cubicBezTo>
                  <a:cubicBezTo>
                    <a:pt x="384" y="268"/>
                    <a:pt x="387" y="273"/>
                    <a:pt x="392" y="270"/>
                  </a:cubicBezTo>
                  <a:close/>
                  <a:moveTo>
                    <a:pt x="379" y="380"/>
                  </a:moveTo>
                  <a:cubicBezTo>
                    <a:pt x="393" y="380"/>
                    <a:pt x="398" y="360"/>
                    <a:pt x="388" y="352"/>
                  </a:cubicBezTo>
                  <a:cubicBezTo>
                    <a:pt x="372" y="338"/>
                    <a:pt x="355" y="379"/>
                    <a:pt x="379" y="380"/>
                  </a:cubicBezTo>
                  <a:close/>
                  <a:moveTo>
                    <a:pt x="358" y="235"/>
                  </a:moveTo>
                  <a:cubicBezTo>
                    <a:pt x="359" y="243"/>
                    <a:pt x="352" y="246"/>
                    <a:pt x="360" y="254"/>
                  </a:cubicBezTo>
                  <a:cubicBezTo>
                    <a:pt x="364" y="253"/>
                    <a:pt x="367" y="249"/>
                    <a:pt x="369" y="245"/>
                  </a:cubicBezTo>
                  <a:cubicBezTo>
                    <a:pt x="373" y="247"/>
                    <a:pt x="375" y="246"/>
                    <a:pt x="379" y="245"/>
                  </a:cubicBezTo>
                  <a:cubicBezTo>
                    <a:pt x="379" y="235"/>
                    <a:pt x="368" y="202"/>
                    <a:pt x="353" y="213"/>
                  </a:cubicBezTo>
                  <a:cubicBezTo>
                    <a:pt x="353" y="213"/>
                    <a:pt x="353" y="213"/>
                    <a:pt x="353" y="213"/>
                  </a:cubicBezTo>
                  <a:cubicBezTo>
                    <a:pt x="346" y="221"/>
                    <a:pt x="356" y="228"/>
                    <a:pt x="358" y="235"/>
                  </a:cubicBezTo>
                  <a:close/>
                  <a:moveTo>
                    <a:pt x="350" y="592"/>
                  </a:moveTo>
                  <a:cubicBezTo>
                    <a:pt x="346" y="587"/>
                    <a:pt x="339" y="572"/>
                    <a:pt x="332" y="584"/>
                  </a:cubicBezTo>
                  <a:cubicBezTo>
                    <a:pt x="328" y="587"/>
                    <a:pt x="328" y="596"/>
                    <a:pt x="329" y="601"/>
                  </a:cubicBezTo>
                  <a:cubicBezTo>
                    <a:pt x="313" y="603"/>
                    <a:pt x="312" y="616"/>
                    <a:pt x="323" y="624"/>
                  </a:cubicBezTo>
                  <a:cubicBezTo>
                    <a:pt x="331" y="629"/>
                    <a:pt x="348" y="634"/>
                    <a:pt x="357" y="633"/>
                  </a:cubicBezTo>
                  <a:cubicBezTo>
                    <a:pt x="366" y="631"/>
                    <a:pt x="371" y="624"/>
                    <a:pt x="365" y="616"/>
                  </a:cubicBezTo>
                  <a:cubicBezTo>
                    <a:pt x="368" y="608"/>
                    <a:pt x="354" y="599"/>
                    <a:pt x="350" y="592"/>
                  </a:cubicBezTo>
                  <a:close/>
                  <a:moveTo>
                    <a:pt x="333" y="516"/>
                  </a:moveTo>
                  <a:cubicBezTo>
                    <a:pt x="336" y="514"/>
                    <a:pt x="336" y="508"/>
                    <a:pt x="339" y="505"/>
                  </a:cubicBezTo>
                  <a:cubicBezTo>
                    <a:pt x="342" y="502"/>
                    <a:pt x="347" y="503"/>
                    <a:pt x="350" y="500"/>
                  </a:cubicBezTo>
                  <a:cubicBezTo>
                    <a:pt x="361" y="492"/>
                    <a:pt x="360" y="477"/>
                    <a:pt x="358" y="465"/>
                  </a:cubicBezTo>
                  <a:cubicBezTo>
                    <a:pt x="356" y="465"/>
                    <a:pt x="354" y="465"/>
                    <a:pt x="353" y="465"/>
                  </a:cubicBezTo>
                  <a:cubicBezTo>
                    <a:pt x="355" y="455"/>
                    <a:pt x="347" y="452"/>
                    <a:pt x="340" y="449"/>
                  </a:cubicBezTo>
                  <a:cubicBezTo>
                    <a:pt x="340" y="437"/>
                    <a:pt x="356" y="431"/>
                    <a:pt x="351" y="417"/>
                  </a:cubicBezTo>
                  <a:cubicBezTo>
                    <a:pt x="343" y="415"/>
                    <a:pt x="340" y="422"/>
                    <a:pt x="334" y="421"/>
                  </a:cubicBezTo>
                  <a:cubicBezTo>
                    <a:pt x="328" y="420"/>
                    <a:pt x="326" y="411"/>
                    <a:pt x="321" y="414"/>
                  </a:cubicBezTo>
                  <a:cubicBezTo>
                    <a:pt x="314" y="412"/>
                    <a:pt x="306" y="419"/>
                    <a:pt x="305" y="426"/>
                  </a:cubicBezTo>
                  <a:cubicBezTo>
                    <a:pt x="310" y="429"/>
                    <a:pt x="310" y="432"/>
                    <a:pt x="304" y="434"/>
                  </a:cubicBezTo>
                  <a:cubicBezTo>
                    <a:pt x="306" y="433"/>
                    <a:pt x="314" y="450"/>
                    <a:pt x="312" y="454"/>
                  </a:cubicBezTo>
                  <a:cubicBezTo>
                    <a:pt x="305" y="466"/>
                    <a:pt x="298" y="453"/>
                    <a:pt x="297" y="445"/>
                  </a:cubicBezTo>
                  <a:cubicBezTo>
                    <a:pt x="280" y="465"/>
                    <a:pt x="309" y="486"/>
                    <a:pt x="317" y="504"/>
                  </a:cubicBezTo>
                  <a:cubicBezTo>
                    <a:pt x="321" y="515"/>
                    <a:pt x="324" y="525"/>
                    <a:pt x="333" y="516"/>
                  </a:cubicBezTo>
                  <a:close/>
                  <a:moveTo>
                    <a:pt x="335" y="307"/>
                  </a:moveTo>
                  <a:cubicBezTo>
                    <a:pt x="332" y="306"/>
                    <a:pt x="329" y="301"/>
                    <a:pt x="325" y="301"/>
                  </a:cubicBezTo>
                  <a:cubicBezTo>
                    <a:pt x="325" y="303"/>
                    <a:pt x="325" y="303"/>
                    <a:pt x="325" y="303"/>
                  </a:cubicBezTo>
                  <a:cubicBezTo>
                    <a:pt x="319" y="312"/>
                    <a:pt x="330" y="319"/>
                    <a:pt x="329" y="329"/>
                  </a:cubicBezTo>
                  <a:cubicBezTo>
                    <a:pt x="320" y="330"/>
                    <a:pt x="318" y="315"/>
                    <a:pt x="313" y="310"/>
                  </a:cubicBezTo>
                  <a:cubicBezTo>
                    <a:pt x="313" y="316"/>
                    <a:pt x="313" y="322"/>
                    <a:pt x="311" y="328"/>
                  </a:cubicBezTo>
                  <a:cubicBezTo>
                    <a:pt x="309" y="332"/>
                    <a:pt x="301" y="338"/>
                    <a:pt x="301" y="342"/>
                  </a:cubicBezTo>
                  <a:cubicBezTo>
                    <a:pt x="300" y="357"/>
                    <a:pt x="322" y="335"/>
                    <a:pt x="327" y="343"/>
                  </a:cubicBezTo>
                  <a:cubicBezTo>
                    <a:pt x="330" y="349"/>
                    <a:pt x="307" y="375"/>
                    <a:pt x="334" y="372"/>
                  </a:cubicBezTo>
                  <a:cubicBezTo>
                    <a:pt x="349" y="371"/>
                    <a:pt x="349" y="352"/>
                    <a:pt x="351" y="340"/>
                  </a:cubicBezTo>
                  <a:cubicBezTo>
                    <a:pt x="353" y="333"/>
                    <a:pt x="356" y="318"/>
                    <a:pt x="352" y="312"/>
                  </a:cubicBezTo>
                  <a:cubicBezTo>
                    <a:pt x="349" y="306"/>
                    <a:pt x="347" y="307"/>
                    <a:pt x="343" y="306"/>
                  </a:cubicBezTo>
                  <a:cubicBezTo>
                    <a:pt x="342" y="305"/>
                    <a:pt x="337" y="307"/>
                    <a:pt x="335" y="307"/>
                  </a:cubicBezTo>
                  <a:close/>
                  <a:moveTo>
                    <a:pt x="325" y="237"/>
                  </a:moveTo>
                  <a:cubicBezTo>
                    <a:pt x="334" y="245"/>
                    <a:pt x="335" y="259"/>
                    <a:pt x="337" y="243"/>
                  </a:cubicBezTo>
                  <a:cubicBezTo>
                    <a:pt x="338" y="233"/>
                    <a:pt x="338" y="215"/>
                    <a:pt x="334" y="205"/>
                  </a:cubicBezTo>
                  <a:cubicBezTo>
                    <a:pt x="329" y="195"/>
                    <a:pt x="318" y="187"/>
                    <a:pt x="307" y="188"/>
                  </a:cubicBezTo>
                  <a:cubicBezTo>
                    <a:pt x="302" y="186"/>
                    <a:pt x="302" y="186"/>
                    <a:pt x="302" y="186"/>
                  </a:cubicBezTo>
                  <a:cubicBezTo>
                    <a:pt x="303" y="186"/>
                    <a:pt x="303" y="185"/>
                    <a:pt x="301" y="185"/>
                  </a:cubicBezTo>
                  <a:cubicBezTo>
                    <a:pt x="295" y="194"/>
                    <a:pt x="291" y="212"/>
                    <a:pt x="298" y="222"/>
                  </a:cubicBezTo>
                  <a:cubicBezTo>
                    <a:pt x="304" y="231"/>
                    <a:pt x="317" y="230"/>
                    <a:pt x="325" y="237"/>
                  </a:cubicBezTo>
                  <a:close/>
                  <a:moveTo>
                    <a:pt x="114" y="590"/>
                  </a:moveTo>
                  <a:cubicBezTo>
                    <a:pt x="113" y="593"/>
                    <a:pt x="114" y="595"/>
                    <a:pt x="116" y="598"/>
                  </a:cubicBezTo>
                  <a:cubicBezTo>
                    <a:pt x="134" y="600"/>
                    <a:pt x="152" y="609"/>
                    <a:pt x="170" y="603"/>
                  </a:cubicBezTo>
                  <a:cubicBezTo>
                    <a:pt x="179" y="599"/>
                    <a:pt x="185" y="599"/>
                    <a:pt x="194" y="597"/>
                  </a:cubicBezTo>
                  <a:cubicBezTo>
                    <a:pt x="202" y="596"/>
                    <a:pt x="206" y="585"/>
                    <a:pt x="214" y="586"/>
                  </a:cubicBezTo>
                  <a:cubicBezTo>
                    <a:pt x="221" y="586"/>
                    <a:pt x="232" y="599"/>
                    <a:pt x="240" y="603"/>
                  </a:cubicBezTo>
                  <a:cubicBezTo>
                    <a:pt x="240" y="603"/>
                    <a:pt x="239" y="605"/>
                    <a:pt x="239" y="605"/>
                  </a:cubicBezTo>
                  <a:cubicBezTo>
                    <a:pt x="251" y="613"/>
                    <a:pt x="263" y="607"/>
                    <a:pt x="274" y="613"/>
                  </a:cubicBezTo>
                  <a:cubicBezTo>
                    <a:pt x="277" y="606"/>
                    <a:pt x="277" y="599"/>
                    <a:pt x="280" y="593"/>
                  </a:cubicBezTo>
                  <a:cubicBezTo>
                    <a:pt x="271" y="594"/>
                    <a:pt x="265" y="588"/>
                    <a:pt x="268" y="580"/>
                  </a:cubicBezTo>
                  <a:cubicBezTo>
                    <a:pt x="276" y="581"/>
                    <a:pt x="296" y="585"/>
                    <a:pt x="300" y="576"/>
                  </a:cubicBezTo>
                  <a:cubicBezTo>
                    <a:pt x="307" y="561"/>
                    <a:pt x="281" y="552"/>
                    <a:pt x="274" y="543"/>
                  </a:cubicBezTo>
                  <a:cubicBezTo>
                    <a:pt x="262" y="529"/>
                    <a:pt x="264" y="521"/>
                    <a:pt x="262" y="505"/>
                  </a:cubicBezTo>
                  <a:cubicBezTo>
                    <a:pt x="260" y="494"/>
                    <a:pt x="255" y="486"/>
                    <a:pt x="254" y="475"/>
                  </a:cubicBezTo>
                  <a:cubicBezTo>
                    <a:pt x="254" y="466"/>
                    <a:pt x="256" y="457"/>
                    <a:pt x="255" y="448"/>
                  </a:cubicBezTo>
                  <a:cubicBezTo>
                    <a:pt x="245" y="438"/>
                    <a:pt x="228" y="410"/>
                    <a:pt x="224" y="440"/>
                  </a:cubicBezTo>
                  <a:cubicBezTo>
                    <a:pt x="223" y="446"/>
                    <a:pt x="226" y="495"/>
                    <a:pt x="213" y="491"/>
                  </a:cubicBezTo>
                  <a:cubicBezTo>
                    <a:pt x="201" y="487"/>
                    <a:pt x="217" y="443"/>
                    <a:pt x="207" y="439"/>
                  </a:cubicBezTo>
                  <a:cubicBezTo>
                    <a:pt x="204" y="438"/>
                    <a:pt x="201" y="439"/>
                    <a:pt x="197" y="441"/>
                  </a:cubicBezTo>
                  <a:cubicBezTo>
                    <a:pt x="182" y="502"/>
                    <a:pt x="171" y="546"/>
                    <a:pt x="171" y="546"/>
                  </a:cubicBezTo>
                  <a:cubicBezTo>
                    <a:pt x="171" y="546"/>
                    <a:pt x="112" y="538"/>
                    <a:pt x="80" y="525"/>
                  </a:cubicBezTo>
                  <a:cubicBezTo>
                    <a:pt x="77" y="534"/>
                    <a:pt x="84" y="550"/>
                    <a:pt x="88" y="561"/>
                  </a:cubicBezTo>
                  <a:cubicBezTo>
                    <a:pt x="104" y="558"/>
                    <a:pt x="116" y="577"/>
                    <a:pt x="114" y="590"/>
                  </a:cubicBezTo>
                  <a:close/>
                  <a:moveTo>
                    <a:pt x="237" y="358"/>
                  </a:moveTo>
                  <a:cubicBezTo>
                    <a:pt x="248" y="359"/>
                    <a:pt x="258" y="359"/>
                    <a:pt x="266" y="352"/>
                  </a:cubicBezTo>
                  <a:cubicBezTo>
                    <a:pt x="272" y="346"/>
                    <a:pt x="282" y="330"/>
                    <a:pt x="276" y="322"/>
                  </a:cubicBezTo>
                  <a:cubicBezTo>
                    <a:pt x="271" y="314"/>
                    <a:pt x="257" y="317"/>
                    <a:pt x="250" y="310"/>
                  </a:cubicBezTo>
                  <a:cubicBezTo>
                    <a:pt x="249" y="310"/>
                    <a:pt x="248" y="310"/>
                    <a:pt x="247" y="310"/>
                  </a:cubicBezTo>
                  <a:cubicBezTo>
                    <a:pt x="246" y="304"/>
                    <a:pt x="250" y="287"/>
                    <a:pt x="246" y="283"/>
                  </a:cubicBezTo>
                  <a:cubicBezTo>
                    <a:pt x="230" y="268"/>
                    <a:pt x="235" y="329"/>
                    <a:pt x="235" y="329"/>
                  </a:cubicBezTo>
                  <a:cubicBezTo>
                    <a:pt x="232" y="331"/>
                    <a:pt x="228" y="331"/>
                    <a:pt x="225" y="329"/>
                  </a:cubicBezTo>
                  <a:cubicBezTo>
                    <a:pt x="222" y="338"/>
                    <a:pt x="220" y="348"/>
                    <a:pt x="218" y="357"/>
                  </a:cubicBezTo>
                  <a:cubicBezTo>
                    <a:pt x="224" y="356"/>
                    <a:pt x="229" y="357"/>
                    <a:pt x="237" y="358"/>
                  </a:cubicBezTo>
                  <a:close/>
                  <a:moveTo>
                    <a:pt x="245" y="416"/>
                  </a:moveTo>
                  <a:cubicBezTo>
                    <a:pt x="240" y="423"/>
                    <a:pt x="252" y="435"/>
                    <a:pt x="256" y="441"/>
                  </a:cubicBezTo>
                  <a:cubicBezTo>
                    <a:pt x="257" y="444"/>
                    <a:pt x="267" y="426"/>
                    <a:pt x="266" y="422"/>
                  </a:cubicBezTo>
                  <a:cubicBezTo>
                    <a:pt x="264" y="414"/>
                    <a:pt x="251" y="408"/>
                    <a:pt x="245" y="416"/>
                  </a:cubicBezTo>
                  <a:close/>
                  <a:moveTo>
                    <a:pt x="176" y="628"/>
                  </a:moveTo>
                  <a:cubicBezTo>
                    <a:pt x="181" y="631"/>
                    <a:pt x="189" y="623"/>
                    <a:pt x="193" y="622"/>
                  </a:cubicBezTo>
                  <a:cubicBezTo>
                    <a:pt x="198" y="620"/>
                    <a:pt x="203" y="621"/>
                    <a:pt x="209" y="622"/>
                  </a:cubicBezTo>
                  <a:cubicBezTo>
                    <a:pt x="211" y="613"/>
                    <a:pt x="221" y="617"/>
                    <a:pt x="224" y="609"/>
                  </a:cubicBezTo>
                  <a:cubicBezTo>
                    <a:pt x="221" y="605"/>
                    <a:pt x="215" y="604"/>
                    <a:pt x="211" y="606"/>
                  </a:cubicBezTo>
                  <a:cubicBezTo>
                    <a:pt x="217" y="606"/>
                    <a:pt x="217" y="606"/>
                    <a:pt x="217" y="606"/>
                  </a:cubicBezTo>
                  <a:cubicBezTo>
                    <a:pt x="214" y="606"/>
                    <a:pt x="156" y="615"/>
                    <a:pt x="176" y="628"/>
                  </a:cubicBez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7" name="Freeform 4029">
              <a:extLst>
                <a:ext uri="{FF2B5EF4-FFF2-40B4-BE49-F238E27FC236}">
                  <a16:creationId xmlns:a16="http://schemas.microsoft.com/office/drawing/2014/main" id="{DB78BC7F-E2CF-40B9-89F8-FD106CF360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52713" y="2132013"/>
              <a:ext cx="1504950" cy="2286000"/>
            </a:xfrm>
            <a:custGeom>
              <a:avLst/>
              <a:gdLst/>
              <a:ahLst/>
              <a:cxnLst>
                <a:cxn ang="0">
                  <a:pos x="503" y="17"/>
                </a:cxn>
                <a:cxn ang="0">
                  <a:pos x="505" y="8"/>
                </a:cxn>
                <a:cxn ang="0">
                  <a:pos x="376" y="561"/>
                </a:cxn>
                <a:cxn ang="0">
                  <a:pos x="337" y="521"/>
                </a:cxn>
                <a:cxn ang="0">
                  <a:pos x="284" y="427"/>
                </a:cxn>
                <a:cxn ang="0">
                  <a:pos x="272" y="334"/>
                </a:cxn>
                <a:cxn ang="0">
                  <a:pos x="250" y="306"/>
                </a:cxn>
                <a:cxn ang="0">
                  <a:pos x="213" y="296"/>
                </a:cxn>
                <a:cxn ang="0">
                  <a:pos x="149" y="242"/>
                </a:cxn>
                <a:cxn ang="0">
                  <a:pos x="107" y="225"/>
                </a:cxn>
                <a:cxn ang="0">
                  <a:pos x="80" y="240"/>
                </a:cxn>
                <a:cxn ang="0">
                  <a:pos x="38" y="174"/>
                </a:cxn>
                <a:cxn ang="0">
                  <a:pos x="36" y="288"/>
                </a:cxn>
                <a:cxn ang="0">
                  <a:pos x="30" y="354"/>
                </a:cxn>
                <a:cxn ang="0">
                  <a:pos x="46" y="368"/>
                </a:cxn>
                <a:cxn ang="0">
                  <a:pos x="20" y="414"/>
                </a:cxn>
                <a:cxn ang="0">
                  <a:pos x="32" y="456"/>
                </a:cxn>
                <a:cxn ang="0">
                  <a:pos x="21" y="484"/>
                </a:cxn>
                <a:cxn ang="0">
                  <a:pos x="6" y="538"/>
                </a:cxn>
                <a:cxn ang="0">
                  <a:pos x="26" y="581"/>
                </a:cxn>
                <a:cxn ang="0">
                  <a:pos x="66" y="620"/>
                </a:cxn>
                <a:cxn ang="0">
                  <a:pos x="62" y="652"/>
                </a:cxn>
                <a:cxn ang="0">
                  <a:pos x="329" y="743"/>
                </a:cxn>
                <a:cxn ang="0">
                  <a:pos x="492" y="699"/>
                </a:cxn>
                <a:cxn ang="0">
                  <a:pos x="430" y="577"/>
                </a:cxn>
                <a:cxn ang="0">
                  <a:pos x="488" y="58"/>
                </a:cxn>
                <a:cxn ang="0">
                  <a:pos x="487" y="29"/>
                </a:cxn>
                <a:cxn ang="0">
                  <a:pos x="488" y="58"/>
                </a:cxn>
                <a:cxn ang="0">
                  <a:pos x="415" y="106"/>
                </a:cxn>
                <a:cxn ang="0">
                  <a:pos x="410" y="116"/>
                </a:cxn>
                <a:cxn ang="0">
                  <a:pos x="408" y="138"/>
                </a:cxn>
                <a:cxn ang="0">
                  <a:pos x="432" y="143"/>
                </a:cxn>
                <a:cxn ang="0">
                  <a:pos x="423" y="160"/>
                </a:cxn>
                <a:cxn ang="0">
                  <a:pos x="458" y="166"/>
                </a:cxn>
                <a:cxn ang="0">
                  <a:pos x="474" y="135"/>
                </a:cxn>
                <a:cxn ang="0">
                  <a:pos x="447" y="102"/>
                </a:cxn>
                <a:cxn ang="0">
                  <a:pos x="386" y="94"/>
                </a:cxn>
                <a:cxn ang="0">
                  <a:pos x="400" y="80"/>
                </a:cxn>
                <a:cxn ang="0">
                  <a:pos x="417" y="81"/>
                </a:cxn>
                <a:cxn ang="0">
                  <a:pos x="440" y="40"/>
                </a:cxn>
                <a:cxn ang="0">
                  <a:pos x="421" y="38"/>
                </a:cxn>
                <a:cxn ang="0">
                  <a:pos x="404" y="44"/>
                </a:cxn>
                <a:cxn ang="0">
                  <a:pos x="362" y="66"/>
                </a:cxn>
                <a:cxn ang="0">
                  <a:pos x="396" y="340"/>
                </a:cxn>
                <a:cxn ang="0">
                  <a:pos x="329" y="331"/>
                </a:cxn>
                <a:cxn ang="0">
                  <a:pos x="446" y="247"/>
                </a:cxn>
                <a:cxn ang="0">
                  <a:pos x="422" y="258"/>
                </a:cxn>
                <a:cxn ang="0">
                  <a:pos x="412" y="230"/>
                </a:cxn>
                <a:cxn ang="0">
                  <a:pos x="400" y="229"/>
                </a:cxn>
                <a:cxn ang="0">
                  <a:pos x="350" y="229"/>
                </a:cxn>
                <a:cxn ang="0">
                  <a:pos x="332" y="261"/>
                </a:cxn>
                <a:cxn ang="0">
                  <a:pos x="328" y="296"/>
                </a:cxn>
                <a:cxn ang="0">
                  <a:pos x="396" y="340"/>
                </a:cxn>
                <a:cxn ang="0">
                  <a:pos x="266" y="250"/>
                </a:cxn>
                <a:cxn ang="0">
                  <a:pos x="321" y="233"/>
                </a:cxn>
                <a:cxn ang="0">
                  <a:pos x="385" y="207"/>
                </a:cxn>
                <a:cxn ang="0">
                  <a:pos x="358" y="155"/>
                </a:cxn>
                <a:cxn ang="0">
                  <a:pos x="348" y="138"/>
                </a:cxn>
                <a:cxn ang="0">
                  <a:pos x="314" y="130"/>
                </a:cxn>
                <a:cxn ang="0">
                  <a:pos x="275" y="188"/>
                </a:cxn>
                <a:cxn ang="0">
                  <a:pos x="268" y="228"/>
                </a:cxn>
              </a:cxnLst>
              <a:rect l="0" t="0" r="r" b="b"/>
              <a:pathLst>
                <a:path w="506" h="769">
                  <a:moveTo>
                    <a:pt x="475" y="13"/>
                  </a:moveTo>
                  <a:cubicBezTo>
                    <a:pt x="478" y="24"/>
                    <a:pt x="495" y="23"/>
                    <a:pt x="503" y="17"/>
                  </a:cubicBezTo>
                  <a:cubicBezTo>
                    <a:pt x="502" y="17"/>
                    <a:pt x="502" y="17"/>
                    <a:pt x="503" y="17"/>
                  </a:cubicBezTo>
                  <a:cubicBezTo>
                    <a:pt x="503" y="14"/>
                    <a:pt x="504" y="11"/>
                    <a:pt x="505" y="8"/>
                  </a:cubicBezTo>
                  <a:cubicBezTo>
                    <a:pt x="500" y="0"/>
                    <a:pt x="480" y="10"/>
                    <a:pt x="475" y="13"/>
                  </a:cubicBezTo>
                  <a:close/>
                  <a:moveTo>
                    <a:pt x="376" y="561"/>
                  </a:moveTo>
                  <a:cubicBezTo>
                    <a:pt x="374" y="552"/>
                    <a:pt x="375" y="538"/>
                    <a:pt x="368" y="532"/>
                  </a:cubicBezTo>
                  <a:cubicBezTo>
                    <a:pt x="360" y="524"/>
                    <a:pt x="346" y="529"/>
                    <a:pt x="337" y="521"/>
                  </a:cubicBezTo>
                  <a:cubicBezTo>
                    <a:pt x="325" y="510"/>
                    <a:pt x="317" y="489"/>
                    <a:pt x="305" y="476"/>
                  </a:cubicBezTo>
                  <a:cubicBezTo>
                    <a:pt x="292" y="461"/>
                    <a:pt x="298" y="443"/>
                    <a:pt x="284" y="427"/>
                  </a:cubicBezTo>
                  <a:cubicBezTo>
                    <a:pt x="272" y="413"/>
                    <a:pt x="251" y="403"/>
                    <a:pt x="250" y="384"/>
                  </a:cubicBezTo>
                  <a:cubicBezTo>
                    <a:pt x="249" y="372"/>
                    <a:pt x="262" y="341"/>
                    <a:pt x="272" y="334"/>
                  </a:cubicBezTo>
                  <a:cubicBezTo>
                    <a:pt x="273" y="333"/>
                    <a:pt x="274" y="333"/>
                    <a:pt x="275" y="332"/>
                  </a:cubicBezTo>
                  <a:cubicBezTo>
                    <a:pt x="266" y="324"/>
                    <a:pt x="257" y="316"/>
                    <a:pt x="250" y="306"/>
                  </a:cubicBezTo>
                  <a:cubicBezTo>
                    <a:pt x="238" y="305"/>
                    <a:pt x="234" y="314"/>
                    <a:pt x="223" y="311"/>
                  </a:cubicBezTo>
                  <a:cubicBezTo>
                    <a:pt x="232" y="290"/>
                    <a:pt x="236" y="271"/>
                    <a:pt x="213" y="296"/>
                  </a:cubicBezTo>
                  <a:cubicBezTo>
                    <a:pt x="212" y="279"/>
                    <a:pt x="216" y="259"/>
                    <a:pt x="207" y="247"/>
                  </a:cubicBezTo>
                  <a:cubicBezTo>
                    <a:pt x="213" y="256"/>
                    <a:pt x="150" y="242"/>
                    <a:pt x="149" y="242"/>
                  </a:cubicBezTo>
                  <a:cubicBezTo>
                    <a:pt x="137" y="247"/>
                    <a:pt x="74" y="253"/>
                    <a:pt x="109" y="228"/>
                  </a:cubicBezTo>
                  <a:cubicBezTo>
                    <a:pt x="110" y="228"/>
                    <a:pt x="107" y="225"/>
                    <a:pt x="107" y="225"/>
                  </a:cubicBezTo>
                  <a:cubicBezTo>
                    <a:pt x="97" y="229"/>
                    <a:pt x="87" y="230"/>
                    <a:pt x="77" y="228"/>
                  </a:cubicBezTo>
                  <a:cubicBezTo>
                    <a:pt x="79" y="232"/>
                    <a:pt x="79" y="236"/>
                    <a:pt x="80" y="240"/>
                  </a:cubicBezTo>
                  <a:cubicBezTo>
                    <a:pt x="49" y="234"/>
                    <a:pt x="50" y="198"/>
                    <a:pt x="39" y="174"/>
                  </a:cubicBezTo>
                  <a:cubicBezTo>
                    <a:pt x="38" y="174"/>
                    <a:pt x="38" y="174"/>
                    <a:pt x="38" y="174"/>
                  </a:cubicBezTo>
                  <a:cubicBezTo>
                    <a:pt x="44" y="198"/>
                    <a:pt x="54" y="223"/>
                    <a:pt x="65" y="240"/>
                  </a:cubicBezTo>
                  <a:cubicBezTo>
                    <a:pt x="56" y="254"/>
                    <a:pt x="35" y="272"/>
                    <a:pt x="36" y="288"/>
                  </a:cubicBezTo>
                  <a:cubicBezTo>
                    <a:pt x="0" y="295"/>
                    <a:pt x="39" y="308"/>
                    <a:pt x="42" y="312"/>
                  </a:cubicBezTo>
                  <a:cubicBezTo>
                    <a:pt x="53" y="326"/>
                    <a:pt x="42" y="340"/>
                    <a:pt x="30" y="354"/>
                  </a:cubicBezTo>
                  <a:cubicBezTo>
                    <a:pt x="32" y="356"/>
                    <a:pt x="33" y="359"/>
                    <a:pt x="35" y="362"/>
                  </a:cubicBezTo>
                  <a:cubicBezTo>
                    <a:pt x="39" y="362"/>
                    <a:pt x="42" y="366"/>
                    <a:pt x="46" y="368"/>
                  </a:cubicBezTo>
                  <a:cubicBezTo>
                    <a:pt x="45" y="383"/>
                    <a:pt x="34" y="381"/>
                    <a:pt x="28" y="391"/>
                  </a:cubicBezTo>
                  <a:cubicBezTo>
                    <a:pt x="24" y="398"/>
                    <a:pt x="20" y="407"/>
                    <a:pt x="20" y="414"/>
                  </a:cubicBezTo>
                  <a:cubicBezTo>
                    <a:pt x="21" y="427"/>
                    <a:pt x="29" y="423"/>
                    <a:pt x="35" y="432"/>
                  </a:cubicBezTo>
                  <a:cubicBezTo>
                    <a:pt x="33" y="443"/>
                    <a:pt x="30" y="446"/>
                    <a:pt x="32" y="456"/>
                  </a:cubicBezTo>
                  <a:cubicBezTo>
                    <a:pt x="33" y="462"/>
                    <a:pt x="37" y="466"/>
                    <a:pt x="33" y="473"/>
                  </a:cubicBezTo>
                  <a:cubicBezTo>
                    <a:pt x="31" y="478"/>
                    <a:pt x="23" y="480"/>
                    <a:pt x="21" y="484"/>
                  </a:cubicBezTo>
                  <a:cubicBezTo>
                    <a:pt x="18" y="491"/>
                    <a:pt x="23" y="499"/>
                    <a:pt x="22" y="506"/>
                  </a:cubicBezTo>
                  <a:cubicBezTo>
                    <a:pt x="21" y="521"/>
                    <a:pt x="11" y="526"/>
                    <a:pt x="6" y="538"/>
                  </a:cubicBezTo>
                  <a:cubicBezTo>
                    <a:pt x="12" y="539"/>
                    <a:pt x="19" y="534"/>
                    <a:pt x="25" y="532"/>
                  </a:cubicBezTo>
                  <a:cubicBezTo>
                    <a:pt x="34" y="547"/>
                    <a:pt x="24" y="565"/>
                    <a:pt x="26" y="581"/>
                  </a:cubicBezTo>
                  <a:cubicBezTo>
                    <a:pt x="29" y="600"/>
                    <a:pt x="44" y="603"/>
                    <a:pt x="58" y="611"/>
                  </a:cubicBezTo>
                  <a:cubicBezTo>
                    <a:pt x="65" y="615"/>
                    <a:pt x="65" y="610"/>
                    <a:pt x="66" y="620"/>
                  </a:cubicBezTo>
                  <a:cubicBezTo>
                    <a:pt x="67" y="625"/>
                    <a:pt x="64" y="631"/>
                    <a:pt x="63" y="636"/>
                  </a:cubicBezTo>
                  <a:cubicBezTo>
                    <a:pt x="62" y="641"/>
                    <a:pt x="62" y="647"/>
                    <a:pt x="62" y="652"/>
                  </a:cubicBezTo>
                  <a:cubicBezTo>
                    <a:pt x="85" y="663"/>
                    <a:pt x="109" y="673"/>
                    <a:pt x="135" y="683"/>
                  </a:cubicBezTo>
                  <a:cubicBezTo>
                    <a:pt x="193" y="706"/>
                    <a:pt x="258" y="727"/>
                    <a:pt x="329" y="743"/>
                  </a:cubicBezTo>
                  <a:cubicBezTo>
                    <a:pt x="377" y="754"/>
                    <a:pt x="429" y="763"/>
                    <a:pt x="483" y="769"/>
                  </a:cubicBezTo>
                  <a:cubicBezTo>
                    <a:pt x="485" y="746"/>
                    <a:pt x="489" y="722"/>
                    <a:pt x="492" y="699"/>
                  </a:cubicBezTo>
                  <a:cubicBezTo>
                    <a:pt x="497" y="673"/>
                    <a:pt x="499" y="611"/>
                    <a:pt x="499" y="611"/>
                  </a:cubicBezTo>
                  <a:cubicBezTo>
                    <a:pt x="499" y="611"/>
                    <a:pt x="456" y="585"/>
                    <a:pt x="430" y="577"/>
                  </a:cubicBezTo>
                  <a:cubicBezTo>
                    <a:pt x="412" y="571"/>
                    <a:pt x="393" y="567"/>
                    <a:pt x="376" y="561"/>
                  </a:cubicBezTo>
                  <a:close/>
                  <a:moveTo>
                    <a:pt x="488" y="58"/>
                  </a:moveTo>
                  <a:cubicBezTo>
                    <a:pt x="494" y="53"/>
                    <a:pt x="506" y="21"/>
                    <a:pt x="487" y="30"/>
                  </a:cubicBezTo>
                  <a:cubicBezTo>
                    <a:pt x="487" y="29"/>
                    <a:pt x="487" y="29"/>
                    <a:pt x="487" y="29"/>
                  </a:cubicBezTo>
                  <a:cubicBezTo>
                    <a:pt x="477" y="34"/>
                    <a:pt x="469" y="33"/>
                    <a:pt x="468" y="45"/>
                  </a:cubicBezTo>
                  <a:cubicBezTo>
                    <a:pt x="466" y="65"/>
                    <a:pt x="478" y="52"/>
                    <a:pt x="488" y="58"/>
                  </a:cubicBezTo>
                  <a:close/>
                  <a:moveTo>
                    <a:pt x="411" y="104"/>
                  </a:moveTo>
                  <a:cubicBezTo>
                    <a:pt x="412" y="105"/>
                    <a:pt x="413" y="106"/>
                    <a:pt x="415" y="106"/>
                  </a:cubicBezTo>
                  <a:cubicBezTo>
                    <a:pt x="415" y="107"/>
                    <a:pt x="410" y="111"/>
                    <a:pt x="408" y="112"/>
                  </a:cubicBezTo>
                  <a:cubicBezTo>
                    <a:pt x="409" y="113"/>
                    <a:pt x="409" y="115"/>
                    <a:pt x="410" y="116"/>
                  </a:cubicBezTo>
                  <a:cubicBezTo>
                    <a:pt x="402" y="120"/>
                    <a:pt x="395" y="117"/>
                    <a:pt x="397" y="127"/>
                  </a:cubicBezTo>
                  <a:cubicBezTo>
                    <a:pt x="398" y="132"/>
                    <a:pt x="405" y="136"/>
                    <a:pt x="408" y="138"/>
                  </a:cubicBezTo>
                  <a:cubicBezTo>
                    <a:pt x="415" y="143"/>
                    <a:pt x="416" y="142"/>
                    <a:pt x="422" y="141"/>
                  </a:cubicBezTo>
                  <a:cubicBezTo>
                    <a:pt x="426" y="141"/>
                    <a:pt x="432" y="130"/>
                    <a:pt x="432" y="143"/>
                  </a:cubicBezTo>
                  <a:cubicBezTo>
                    <a:pt x="437" y="146"/>
                    <a:pt x="462" y="140"/>
                    <a:pt x="457" y="153"/>
                  </a:cubicBezTo>
                  <a:cubicBezTo>
                    <a:pt x="455" y="159"/>
                    <a:pt x="429" y="161"/>
                    <a:pt x="423" y="160"/>
                  </a:cubicBezTo>
                  <a:cubicBezTo>
                    <a:pt x="422" y="163"/>
                    <a:pt x="422" y="165"/>
                    <a:pt x="423" y="168"/>
                  </a:cubicBezTo>
                  <a:cubicBezTo>
                    <a:pt x="437" y="176"/>
                    <a:pt x="445" y="172"/>
                    <a:pt x="458" y="166"/>
                  </a:cubicBezTo>
                  <a:cubicBezTo>
                    <a:pt x="461" y="164"/>
                    <a:pt x="464" y="163"/>
                    <a:pt x="467" y="163"/>
                  </a:cubicBezTo>
                  <a:cubicBezTo>
                    <a:pt x="469" y="154"/>
                    <a:pt x="471" y="144"/>
                    <a:pt x="474" y="135"/>
                  </a:cubicBezTo>
                  <a:cubicBezTo>
                    <a:pt x="469" y="132"/>
                    <a:pt x="465" y="129"/>
                    <a:pt x="464" y="126"/>
                  </a:cubicBezTo>
                  <a:cubicBezTo>
                    <a:pt x="458" y="118"/>
                    <a:pt x="462" y="99"/>
                    <a:pt x="447" y="102"/>
                  </a:cubicBezTo>
                  <a:cubicBezTo>
                    <a:pt x="456" y="77"/>
                    <a:pt x="417" y="89"/>
                    <a:pt x="411" y="104"/>
                  </a:cubicBezTo>
                  <a:close/>
                  <a:moveTo>
                    <a:pt x="386" y="94"/>
                  </a:moveTo>
                  <a:cubicBezTo>
                    <a:pt x="390" y="91"/>
                    <a:pt x="387" y="86"/>
                    <a:pt x="390" y="83"/>
                  </a:cubicBezTo>
                  <a:cubicBezTo>
                    <a:pt x="393" y="80"/>
                    <a:pt x="397" y="83"/>
                    <a:pt x="400" y="80"/>
                  </a:cubicBezTo>
                  <a:cubicBezTo>
                    <a:pt x="402" y="76"/>
                    <a:pt x="404" y="59"/>
                    <a:pt x="412" y="62"/>
                  </a:cubicBezTo>
                  <a:cubicBezTo>
                    <a:pt x="420" y="65"/>
                    <a:pt x="405" y="80"/>
                    <a:pt x="417" y="81"/>
                  </a:cubicBezTo>
                  <a:cubicBezTo>
                    <a:pt x="422" y="81"/>
                    <a:pt x="431" y="68"/>
                    <a:pt x="432" y="64"/>
                  </a:cubicBezTo>
                  <a:cubicBezTo>
                    <a:pt x="435" y="57"/>
                    <a:pt x="438" y="48"/>
                    <a:pt x="440" y="40"/>
                  </a:cubicBezTo>
                  <a:cubicBezTo>
                    <a:pt x="436" y="38"/>
                    <a:pt x="433" y="41"/>
                    <a:pt x="430" y="40"/>
                  </a:cubicBezTo>
                  <a:cubicBezTo>
                    <a:pt x="429" y="40"/>
                    <a:pt x="422" y="38"/>
                    <a:pt x="421" y="38"/>
                  </a:cubicBezTo>
                  <a:cubicBezTo>
                    <a:pt x="414" y="37"/>
                    <a:pt x="408" y="40"/>
                    <a:pt x="401" y="45"/>
                  </a:cubicBezTo>
                  <a:cubicBezTo>
                    <a:pt x="404" y="44"/>
                    <a:pt x="404" y="44"/>
                    <a:pt x="404" y="44"/>
                  </a:cubicBezTo>
                  <a:cubicBezTo>
                    <a:pt x="399" y="49"/>
                    <a:pt x="393" y="55"/>
                    <a:pt x="387" y="58"/>
                  </a:cubicBezTo>
                  <a:cubicBezTo>
                    <a:pt x="380" y="62"/>
                    <a:pt x="367" y="60"/>
                    <a:pt x="362" y="66"/>
                  </a:cubicBezTo>
                  <a:cubicBezTo>
                    <a:pt x="348" y="80"/>
                    <a:pt x="381" y="82"/>
                    <a:pt x="386" y="94"/>
                  </a:cubicBezTo>
                  <a:close/>
                  <a:moveTo>
                    <a:pt x="396" y="340"/>
                  </a:moveTo>
                  <a:cubicBezTo>
                    <a:pt x="384" y="346"/>
                    <a:pt x="361" y="323"/>
                    <a:pt x="347" y="322"/>
                  </a:cubicBezTo>
                  <a:cubicBezTo>
                    <a:pt x="336" y="322"/>
                    <a:pt x="330" y="325"/>
                    <a:pt x="329" y="331"/>
                  </a:cubicBezTo>
                  <a:cubicBezTo>
                    <a:pt x="361" y="344"/>
                    <a:pt x="420" y="352"/>
                    <a:pt x="420" y="352"/>
                  </a:cubicBezTo>
                  <a:cubicBezTo>
                    <a:pt x="420" y="352"/>
                    <a:pt x="431" y="308"/>
                    <a:pt x="446" y="247"/>
                  </a:cubicBezTo>
                  <a:cubicBezTo>
                    <a:pt x="440" y="250"/>
                    <a:pt x="434" y="255"/>
                    <a:pt x="432" y="258"/>
                  </a:cubicBezTo>
                  <a:cubicBezTo>
                    <a:pt x="429" y="258"/>
                    <a:pt x="425" y="258"/>
                    <a:pt x="422" y="258"/>
                  </a:cubicBezTo>
                  <a:cubicBezTo>
                    <a:pt x="422" y="258"/>
                    <a:pt x="422" y="258"/>
                    <a:pt x="422" y="258"/>
                  </a:cubicBezTo>
                  <a:cubicBezTo>
                    <a:pt x="421" y="247"/>
                    <a:pt x="434" y="227"/>
                    <a:pt x="412" y="230"/>
                  </a:cubicBezTo>
                  <a:cubicBezTo>
                    <a:pt x="407" y="231"/>
                    <a:pt x="399" y="244"/>
                    <a:pt x="393" y="240"/>
                  </a:cubicBezTo>
                  <a:cubicBezTo>
                    <a:pt x="386" y="237"/>
                    <a:pt x="397" y="231"/>
                    <a:pt x="400" y="229"/>
                  </a:cubicBezTo>
                  <a:cubicBezTo>
                    <a:pt x="421" y="200"/>
                    <a:pt x="377" y="219"/>
                    <a:pt x="366" y="221"/>
                  </a:cubicBezTo>
                  <a:cubicBezTo>
                    <a:pt x="358" y="222"/>
                    <a:pt x="353" y="216"/>
                    <a:pt x="350" y="229"/>
                  </a:cubicBezTo>
                  <a:cubicBezTo>
                    <a:pt x="348" y="229"/>
                    <a:pt x="346" y="229"/>
                    <a:pt x="345" y="229"/>
                  </a:cubicBezTo>
                  <a:cubicBezTo>
                    <a:pt x="343" y="244"/>
                    <a:pt x="322" y="245"/>
                    <a:pt x="332" y="261"/>
                  </a:cubicBezTo>
                  <a:cubicBezTo>
                    <a:pt x="339" y="274"/>
                    <a:pt x="355" y="270"/>
                    <a:pt x="367" y="278"/>
                  </a:cubicBezTo>
                  <a:cubicBezTo>
                    <a:pt x="354" y="279"/>
                    <a:pt x="320" y="274"/>
                    <a:pt x="328" y="296"/>
                  </a:cubicBezTo>
                  <a:cubicBezTo>
                    <a:pt x="334" y="313"/>
                    <a:pt x="358" y="310"/>
                    <a:pt x="372" y="314"/>
                  </a:cubicBezTo>
                  <a:cubicBezTo>
                    <a:pt x="379" y="317"/>
                    <a:pt x="412" y="332"/>
                    <a:pt x="396" y="340"/>
                  </a:cubicBezTo>
                  <a:close/>
                  <a:moveTo>
                    <a:pt x="268" y="228"/>
                  </a:moveTo>
                  <a:cubicBezTo>
                    <a:pt x="269" y="235"/>
                    <a:pt x="264" y="243"/>
                    <a:pt x="266" y="250"/>
                  </a:cubicBezTo>
                  <a:cubicBezTo>
                    <a:pt x="273" y="270"/>
                    <a:pt x="289" y="240"/>
                    <a:pt x="294" y="256"/>
                  </a:cubicBezTo>
                  <a:cubicBezTo>
                    <a:pt x="309" y="253"/>
                    <a:pt x="312" y="244"/>
                    <a:pt x="321" y="233"/>
                  </a:cubicBezTo>
                  <a:cubicBezTo>
                    <a:pt x="327" y="225"/>
                    <a:pt x="338" y="219"/>
                    <a:pt x="348" y="215"/>
                  </a:cubicBezTo>
                  <a:cubicBezTo>
                    <a:pt x="359" y="211"/>
                    <a:pt x="376" y="214"/>
                    <a:pt x="385" y="207"/>
                  </a:cubicBezTo>
                  <a:cubicBezTo>
                    <a:pt x="395" y="201"/>
                    <a:pt x="397" y="182"/>
                    <a:pt x="391" y="173"/>
                  </a:cubicBezTo>
                  <a:cubicBezTo>
                    <a:pt x="384" y="163"/>
                    <a:pt x="368" y="162"/>
                    <a:pt x="358" y="155"/>
                  </a:cubicBezTo>
                  <a:cubicBezTo>
                    <a:pt x="356" y="155"/>
                    <a:pt x="354" y="155"/>
                    <a:pt x="353" y="155"/>
                  </a:cubicBezTo>
                  <a:cubicBezTo>
                    <a:pt x="350" y="155"/>
                    <a:pt x="350" y="139"/>
                    <a:pt x="348" y="138"/>
                  </a:cubicBezTo>
                  <a:cubicBezTo>
                    <a:pt x="343" y="133"/>
                    <a:pt x="340" y="137"/>
                    <a:pt x="334" y="136"/>
                  </a:cubicBezTo>
                  <a:cubicBezTo>
                    <a:pt x="327" y="135"/>
                    <a:pt x="322" y="128"/>
                    <a:pt x="314" y="130"/>
                  </a:cubicBezTo>
                  <a:cubicBezTo>
                    <a:pt x="305" y="133"/>
                    <a:pt x="309" y="146"/>
                    <a:pt x="306" y="153"/>
                  </a:cubicBezTo>
                  <a:cubicBezTo>
                    <a:pt x="301" y="168"/>
                    <a:pt x="285" y="177"/>
                    <a:pt x="275" y="188"/>
                  </a:cubicBezTo>
                  <a:cubicBezTo>
                    <a:pt x="267" y="196"/>
                    <a:pt x="255" y="199"/>
                    <a:pt x="259" y="212"/>
                  </a:cubicBezTo>
                  <a:cubicBezTo>
                    <a:pt x="261" y="218"/>
                    <a:pt x="267" y="221"/>
                    <a:pt x="268" y="228"/>
                  </a:cubicBez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8" name="Freeform 4030">
              <a:extLst>
                <a:ext uri="{FF2B5EF4-FFF2-40B4-BE49-F238E27FC236}">
                  <a16:creationId xmlns:a16="http://schemas.microsoft.com/office/drawing/2014/main" id="{684666FB-2A20-4717-A6F6-9E582D2BE1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9388" y="4162425"/>
              <a:ext cx="912813" cy="1498600"/>
            </a:xfrm>
            <a:custGeom>
              <a:avLst/>
              <a:gdLst/>
              <a:ahLst/>
              <a:cxnLst>
                <a:cxn ang="0">
                  <a:pos x="307" y="60"/>
                </a:cxn>
                <a:cxn ang="0">
                  <a:pos x="200" y="504"/>
                </a:cxn>
                <a:cxn ang="0">
                  <a:pos x="86" y="473"/>
                </a:cxn>
                <a:cxn ang="0">
                  <a:pos x="96" y="413"/>
                </a:cxn>
                <a:cxn ang="0">
                  <a:pos x="81" y="409"/>
                </a:cxn>
                <a:cxn ang="0">
                  <a:pos x="45" y="324"/>
                </a:cxn>
                <a:cxn ang="0">
                  <a:pos x="37" y="305"/>
                </a:cxn>
                <a:cxn ang="0">
                  <a:pos x="17" y="217"/>
                </a:cxn>
                <a:cxn ang="0">
                  <a:pos x="113" y="0"/>
                </a:cxn>
                <a:cxn ang="0">
                  <a:pos x="307" y="60"/>
                </a:cxn>
              </a:cxnLst>
              <a:rect l="0" t="0" r="r" b="b"/>
              <a:pathLst>
                <a:path w="307" h="504">
                  <a:moveTo>
                    <a:pt x="307" y="60"/>
                  </a:moveTo>
                  <a:cubicBezTo>
                    <a:pt x="200" y="504"/>
                    <a:pt x="200" y="504"/>
                    <a:pt x="200" y="504"/>
                  </a:cubicBezTo>
                  <a:cubicBezTo>
                    <a:pt x="159" y="494"/>
                    <a:pt x="120" y="483"/>
                    <a:pt x="86" y="473"/>
                  </a:cubicBezTo>
                  <a:cubicBezTo>
                    <a:pt x="81" y="452"/>
                    <a:pt x="83" y="430"/>
                    <a:pt x="96" y="413"/>
                  </a:cubicBezTo>
                  <a:cubicBezTo>
                    <a:pt x="91" y="413"/>
                    <a:pt x="87" y="409"/>
                    <a:pt x="81" y="409"/>
                  </a:cubicBezTo>
                  <a:cubicBezTo>
                    <a:pt x="81" y="382"/>
                    <a:pt x="68" y="337"/>
                    <a:pt x="45" y="324"/>
                  </a:cubicBezTo>
                  <a:cubicBezTo>
                    <a:pt x="49" y="315"/>
                    <a:pt x="49" y="302"/>
                    <a:pt x="37" y="305"/>
                  </a:cubicBezTo>
                  <a:cubicBezTo>
                    <a:pt x="48" y="271"/>
                    <a:pt x="0" y="248"/>
                    <a:pt x="17" y="217"/>
                  </a:cubicBezTo>
                  <a:cubicBezTo>
                    <a:pt x="40" y="178"/>
                    <a:pt x="85" y="65"/>
                    <a:pt x="113" y="0"/>
                  </a:cubicBezTo>
                  <a:cubicBezTo>
                    <a:pt x="171" y="23"/>
                    <a:pt x="236" y="44"/>
                    <a:pt x="307" y="60"/>
                  </a:cubicBez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9" name="Freeform 4031">
              <a:extLst>
                <a:ext uri="{FF2B5EF4-FFF2-40B4-BE49-F238E27FC236}">
                  <a16:creationId xmlns:a16="http://schemas.microsoft.com/office/drawing/2014/main" id="{8F14F381-A89C-49F4-9AA6-244BC84FD8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0888" y="2649538"/>
              <a:ext cx="831850" cy="1420813"/>
            </a:xfrm>
            <a:custGeom>
              <a:avLst/>
              <a:gdLst/>
              <a:ahLst/>
              <a:cxnLst>
                <a:cxn ang="0">
                  <a:pos x="279" y="446"/>
                </a:cxn>
                <a:cxn ang="0">
                  <a:pos x="276" y="462"/>
                </a:cxn>
                <a:cxn ang="0">
                  <a:pos x="275" y="478"/>
                </a:cxn>
                <a:cxn ang="0">
                  <a:pos x="19" y="302"/>
                </a:cxn>
                <a:cxn ang="0">
                  <a:pos x="19" y="302"/>
                </a:cxn>
                <a:cxn ang="0">
                  <a:pos x="17" y="292"/>
                </a:cxn>
                <a:cxn ang="0">
                  <a:pos x="6" y="288"/>
                </a:cxn>
                <a:cxn ang="0">
                  <a:pos x="0" y="281"/>
                </a:cxn>
                <a:cxn ang="0">
                  <a:pos x="251" y="0"/>
                </a:cxn>
                <a:cxn ang="0">
                  <a:pos x="278" y="66"/>
                </a:cxn>
                <a:cxn ang="0">
                  <a:pos x="249" y="114"/>
                </a:cxn>
                <a:cxn ang="0">
                  <a:pos x="255" y="138"/>
                </a:cxn>
                <a:cxn ang="0">
                  <a:pos x="243" y="180"/>
                </a:cxn>
                <a:cxn ang="0">
                  <a:pos x="248" y="188"/>
                </a:cxn>
                <a:cxn ang="0">
                  <a:pos x="259" y="194"/>
                </a:cxn>
                <a:cxn ang="0">
                  <a:pos x="241" y="217"/>
                </a:cxn>
                <a:cxn ang="0">
                  <a:pos x="233" y="240"/>
                </a:cxn>
                <a:cxn ang="0">
                  <a:pos x="248" y="258"/>
                </a:cxn>
                <a:cxn ang="0">
                  <a:pos x="245" y="282"/>
                </a:cxn>
                <a:cxn ang="0">
                  <a:pos x="246" y="299"/>
                </a:cxn>
                <a:cxn ang="0">
                  <a:pos x="234" y="310"/>
                </a:cxn>
                <a:cxn ang="0">
                  <a:pos x="235" y="332"/>
                </a:cxn>
                <a:cxn ang="0">
                  <a:pos x="219" y="364"/>
                </a:cxn>
                <a:cxn ang="0">
                  <a:pos x="238" y="358"/>
                </a:cxn>
                <a:cxn ang="0">
                  <a:pos x="239" y="407"/>
                </a:cxn>
                <a:cxn ang="0">
                  <a:pos x="271" y="437"/>
                </a:cxn>
                <a:cxn ang="0">
                  <a:pos x="279" y="446"/>
                </a:cxn>
              </a:cxnLst>
              <a:rect l="0" t="0" r="r" b="b"/>
              <a:pathLst>
                <a:path w="280" h="478">
                  <a:moveTo>
                    <a:pt x="279" y="446"/>
                  </a:moveTo>
                  <a:cubicBezTo>
                    <a:pt x="280" y="451"/>
                    <a:pt x="277" y="457"/>
                    <a:pt x="276" y="462"/>
                  </a:cubicBezTo>
                  <a:cubicBezTo>
                    <a:pt x="275" y="467"/>
                    <a:pt x="275" y="473"/>
                    <a:pt x="275" y="478"/>
                  </a:cubicBezTo>
                  <a:cubicBezTo>
                    <a:pt x="158" y="422"/>
                    <a:pt x="72" y="357"/>
                    <a:pt x="19" y="302"/>
                  </a:cubicBezTo>
                  <a:cubicBezTo>
                    <a:pt x="19" y="302"/>
                    <a:pt x="19" y="302"/>
                    <a:pt x="19" y="302"/>
                  </a:cubicBezTo>
                  <a:cubicBezTo>
                    <a:pt x="19" y="300"/>
                    <a:pt x="19" y="293"/>
                    <a:pt x="17" y="292"/>
                  </a:cubicBezTo>
                  <a:cubicBezTo>
                    <a:pt x="14" y="291"/>
                    <a:pt x="10" y="290"/>
                    <a:pt x="6" y="288"/>
                  </a:cubicBezTo>
                  <a:cubicBezTo>
                    <a:pt x="4" y="286"/>
                    <a:pt x="2" y="284"/>
                    <a:pt x="0" y="281"/>
                  </a:cubicBezTo>
                  <a:cubicBezTo>
                    <a:pt x="35" y="248"/>
                    <a:pt x="217" y="35"/>
                    <a:pt x="251" y="0"/>
                  </a:cubicBezTo>
                  <a:cubicBezTo>
                    <a:pt x="257" y="24"/>
                    <a:pt x="267" y="49"/>
                    <a:pt x="278" y="66"/>
                  </a:cubicBezTo>
                  <a:cubicBezTo>
                    <a:pt x="269" y="80"/>
                    <a:pt x="248" y="98"/>
                    <a:pt x="249" y="114"/>
                  </a:cubicBezTo>
                  <a:cubicBezTo>
                    <a:pt x="213" y="121"/>
                    <a:pt x="252" y="134"/>
                    <a:pt x="255" y="138"/>
                  </a:cubicBezTo>
                  <a:cubicBezTo>
                    <a:pt x="266" y="152"/>
                    <a:pt x="255" y="166"/>
                    <a:pt x="243" y="180"/>
                  </a:cubicBezTo>
                  <a:cubicBezTo>
                    <a:pt x="245" y="182"/>
                    <a:pt x="246" y="185"/>
                    <a:pt x="248" y="188"/>
                  </a:cubicBezTo>
                  <a:cubicBezTo>
                    <a:pt x="252" y="188"/>
                    <a:pt x="255" y="192"/>
                    <a:pt x="259" y="194"/>
                  </a:cubicBezTo>
                  <a:cubicBezTo>
                    <a:pt x="258" y="209"/>
                    <a:pt x="247" y="207"/>
                    <a:pt x="241" y="217"/>
                  </a:cubicBezTo>
                  <a:cubicBezTo>
                    <a:pt x="237" y="224"/>
                    <a:pt x="233" y="233"/>
                    <a:pt x="233" y="240"/>
                  </a:cubicBezTo>
                  <a:cubicBezTo>
                    <a:pt x="234" y="253"/>
                    <a:pt x="242" y="249"/>
                    <a:pt x="248" y="258"/>
                  </a:cubicBezTo>
                  <a:cubicBezTo>
                    <a:pt x="246" y="269"/>
                    <a:pt x="243" y="272"/>
                    <a:pt x="245" y="282"/>
                  </a:cubicBezTo>
                  <a:cubicBezTo>
                    <a:pt x="246" y="288"/>
                    <a:pt x="250" y="292"/>
                    <a:pt x="246" y="299"/>
                  </a:cubicBezTo>
                  <a:cubicBezTo>
                    <a:pt x="244" y="304"/>
                    <a:pt x="236" y="306"/>
                    <a:pt x="234" y="310"/>
                  </a:cubicBezTo>
                  <a:cubicBezTo>
                    <a:pt x="231" y="317"/>
                    <a:pt x="236" y="325"/>
                    <a:pt x="235" y="332"/>
                  </a:cubicBezTo>
                  <a:cubicBezTo>
                    <a:pt x="234" y="347"/>
                    <a:pt x="224" y="352"/>
                    <a:pt x="219" y="364"/>
                  </a:cubicBezTo>
                  <a:cubicBezTo>
                    <a:pt x="225" y="365"/>
                    <a:pt x="232" y="360"/>
                    <a:pt x="238" y="358"/>
                  </a:cubicBezTo>
                  <a:cubicBezTo>
                    <a:pt x="247" y="373"/>
                    <a:pt x="237" y="391"/>
                    <a:pt x="239" y="407"/>
                  </a:cubicBezTo>
                  <a:cubicBezTo>
                    <a:pt x="242" y="426"/>
                    <a:pt x="257" y="429"/>
                    <a:pt x="271" y="437"/>
                  </a:cubicBezTo>
                  <a:cubicBezTo>
                    <a:pt x="278" y="441"/>
                    <a:pt x="278" y="436"/>
                    <a:pt x="279" y="446"/>
                  </a:cubicBez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0" name="Freeform 4032">
              <a:extLst>
                <a:ext uri="{FF2B5EF4-FFF2-40B4-BE49-F238E27FC236}">
                  <a16:creationId xmlns:a16="http://schemas.microsoft.com/office/drawing/2014/main" id="{FA04110A-F981-4C9D-82E0-061962EF54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17713" y="3546475"/>
              <a:ext cx="1036638" cy="2022475"/>
            </a:xfrm>
            <a:custGeom>
              <a:avLst/>
              <a:gdLst/>
              <a:ahLst/>
              <a:cxnLst>
                <a:cxn ang="0">
                  <a:pos x="281" y="531"/>
                </a:cxn>
                <a:cxn ang="0">
                  <a:pos x="253" y="424"/>
                </a:cxn>
                <a:cxn ang="0">
                  <a:pos x="276" y="176"/>
                </a:cxn>
                <a:cxn ang="0">
                  <a:pos x="20" y="41"/>
                </a:cxn>
                <a:cxn ang="0">
                  <a:pos x="23" y="66"/>
                </a:cxn>
                <a:cxn ang="0">
                  <a:pos x="42" y="68"/>
                </a:cxn>
                <a:cxn ang="0">
                  <a:pos x="53" y="60"/>
                </a:cxn>
                <a:cxn ang="0">
                  <a:pos x="73" y="77"/>
                </a:cxn>
                <a:cxn ang="0">
                  <a:pos x="69" y="99"/>
                </a:cxn>
                <a:cxn ang="0">
                  <a:pos x="74" y="131"/>
                </a:cxn>
                <a:cxn ang="0">
                  <a:pos x="67" y="147"/>
                </a:cxn>
                <a:cxn ang="0">
                  <a:pos x="68" y="184"/>
                </a:cxn>
                <a:cxn ang="0">
                  <a:pos x="65" y="190"/>
                </a:cxn>
                <a:cxn ang="0">
                  <a:pos x="65" y="215"/>
                </a:cxn>
                <a:cxn ang="0">
                  <a:pos x="70" y="275"/>
                </a:cxn>
                <a:cxn ang="0">
                  <a:pos x="40" y="349"/>
                </a:cxn>
                <a:cxn ang="0">
                  <a:pos x="53" y="358"/>
                </a:cxn>
                <a:cxn ang="0">
                  <a:pos x="48" y="384"/>
                </a:cxn>
                <a:cxn ang="0">
                  <a:pos x="45" y="406"/>
                </a:cxn>
                <a:cxn ang="0">
                  <a:pos x="50" y="428"/>
                </a:cxn>
                <a:cxn ang="0">
                  <a:pos x="31" y="456"/>
                </a:cxn>
                <a:cxn ang="0">
                  <a:pos x="55" y="490"/>
                </a:cxn>
                <a:cxn ang="0">
                  <a:pos x="68" y="507"/>
                </a:cxn>
                <a:cxn ang="0">
                  <a:pos x="76" y="538"/>
                </a:cxn>
                <a:cxn ang="0">
                  <a:pos x="96" y="578"/>
                </a:cxn>
                <a:cxn ang="0">
                  <a:pos x="322" y="680"/>
                </a:cxn>
                <a:cxn ang="0">
                  <a:pos x="317" y="616"/>
                </a:cxn>
                <a:cxn ang="0">
                  <a:pos x="59" y="513"/>
                </a:cxn>
                <a:cxn ang="0">
                  <a:pos x="17" y="463"/>
                </a:cxn>
                <a:cxn ang="0">
                  <a:pos x="20" y="507"/>
                </a:cxn>
                <a:cxn ang="0">
                  <a:pos x="25" y="533"/>
                </a:cxn>
                <a:cxn ang="0">
                  <a:pos x="49" y="586"/>
                </a:cxn>
                <a:cxn ang="0">
                  <a:pos x="80" y="587"/>
                </a:cxn>
              </a:cxnLst>
              <a:rect l="0" t="0" r="r" b="b"/>
              <a:pathLst>
                <a:path w="349" h="680">
                  <a:moveTo>
                    <a:pt x="317" y="616"/>
                  </a:moveTo>
                  <a:cubicBezTo>
                    <a:pt x="317" y="589"/>
                    <a:pt x="304" y="544"/>
                    <a:pt x="281" y="531"/>
                  </a:cubicBezTo>
                  <a:cubicBezTo>
                    <a:pt x="285" y="522"/>
                    <a:pt x="285" y="509"/>
                    <a:pt x="273" y="512"/>
                  </a:cubicBezTo>
                  <a:cubicBezTo>
                    <a:pt x="284" y="478"/>
                    <a:pt x="236" y="455"/>
                    <a:pt x="253" y="424"/>
                  </a:cubicBezTo>
                  <a:cubicBezTo>
                    <a:pt x="276" y="385"/>
                    <a:pt x="321" y="272"/>
                    <a:pt x="349" y="207"/>
                  </a:cubicBezTo>
                  <a:cubicBezTo>
                    <a:pt x="323" y="197"/>
                    <a:pt x="299" y="187"/>
                    <a:pt x="276" y="176"/>
                  </a:cubicBezTo>
                  <a:cubicBezTo>
                    <a:pt x="159" y="120"/>
                    <a:pt x="73" y="55"/>
                    <a:pt x="20" y="0"/>
                  </a:cubicBezTo>
                  <a:cubicBezTo>
                    <a:pt x="21" y="14"/>
                    <a:pt x="21" y="28"/>
                    <a:pt x="20" y="41"/>
                  </a:cubicBezTo>
                  <a:cubicBezTo>
                    <a:pt x="20" y="48"/>
                    <a:pt x="20" y="54"/>
                    <a:pt x="20" y="60"/>
                  </a:cubicBezTo>
                  <a:cubicBezTo>
                    <a:pt x="21" y="64"/>
                    <a:pt x="21" y="66"/>
                    <a:pt x="23" y="66"/>
                  </a:cubicBezTo>
                  <a:cubicBezTo>
                    <a:pt x="24" y="67"/>
                    <a:pt x="27" y="66"/>
                    <a:pt x="32" y="67"/>
                  </a:cubicBezTo>
                  <a:cubicBezTo>
                    <a:pt x="35" y="68"/>
                    <a:pt x="40" y="76"/>
                    <a:pt x="42" y="68"/>
                  </a:cubicBezTo>
                  <a:cubicBezTo>
                    <a:pt x="45" y="68"/>
                    <a:pt x="46" y="65"/>
                    <a:pt x="48" y="63"/>
                  </a:cubicBezTo>
                  <a:cubicBezTo>
                    <a:pt x="51" y="59"/>
                    <a:pt x="48" y="60"/>
                    <a:pt x="53" y="60"/>
                  </a:cubicBezTo>
                  <a:cubicBezTo>
                    <a:pt x="57" y="60"/>
                    <a:pt x="63" y="62"/>
                    <a:pt x="68" y="59"/>
                  </a:cubicBezTo>
                  <a:cubicBezTo>
                    <a:pt x="71" y="61"/>
                    <a:pt x="74" y="73"/>
                    <a:pt x="73" y="77"/>
                  </a:cubicBezTo>
                  <a:cubicBezTo>
                    <a:pt x="72" y="77"/>
                    <a:pt x="72" y="77"/>
                    <a:pt x="71" y="77"/>
                  </a:cubicBezTo>
                  <a:cubicBezTo>
                    <a:pt x="68" y="82"/>
                    <a:pt x="70" y="93"/>
                    <a:pt x="69" y="99"/>
                  </a:cubicBezTo>
                  <a:cubicBezTo>
                    <a:pt x="69" y="102"/>
                    <a:pt x="68" y="106"/>
                    <a:pt x="69" y="109"/>
                  </a:cubicBezTo>
                  <a:cubicBezTo>
                    <a:pt x="72" y="117"/>
                    <a:pt x="76" y="122"/>
                    <a:pt x="74" y="131"/>
                  </a:cubicBezTo>
                  <a:cubicBezTo>
                    <a:pt x="74" y="134"/>
                    <a:pt x="73" y="138"/>
                    <a:pt x="72" y="140"/>
                  </a:cubicBezTo>
                  <a:cubicBezTo>
                    <a:pt x="70" y="143"/>
                    <a:pt x="68" y="143"/>
                    <a:pt x="67" y="147"/>
                  </a:cubicBezTo>
                  <a:cubicBezTo>
                    <a:pt x="66" y="151"/>
                    <a:pt x="70" y="159"/>
                    <a:pt x="71" y="164"/>
                  </a:cubicBezTo>
                  <a:cubicBezTo>
                    <a:pt x="71" y="172"/>
                    <a:pt x="72" y="177"/>
                    <a:pt x="68" y="184"/>
                  </a:cubicBezTo>
                  <a:cubicBezTo>
                    <a:pt x="67" y="185"/>
                    <a:pt x="65" y="185"/>
                    <a:pt x="65" y="186"/>
                  </a:cubicBezTo>
                  <a:cubicBezTo>
                    <a:pt x="64" y="188"/>
                    <a:pt x="65" y="189"/>
                    <a:pt x="65" y="190"/>
                  </a:cubicBezTo>
                  <a:cubicBezTo>
                    <a:pt x="64" y="193"/>
                    <a:pt x="66" y="196"/>
                    <a:pt x="61" y="196"/>
                  </a:cubicBezTo>
                  <a:cubicBezTo>
                    <a:pt x="58" y="201"/>
                    <a:pt x="62" y="211"/>
                    <a:pt x="65" y="215"/>
                  </a:cubicBezTo>
                  <a:cubicBezTo>
                    <a:pt x="71" y="224"/>
                    <a:pt x="76" y="232"/>
                    <a:pt x="80" y="240"/>
                  </a:cubicBezTo>
                  <a:cubicBezTo>
                    <a:pt x="87" y="253"/>
                    <a:pt x="76" y="264"/>
                    <a:pt x="70" y="275"/>
                  </a:cubicBezTo>
                  <a:cubicBezTo>
                    <a:pt x="62" y="289"/>
                    <a:pt x="46" y="298"/>
                    <a:pt x="42" y="314"/>
                  </a:cubicBezTo>
                  <a:cubicBezTo>
                    <a:pt x="40" y="321"/>
                    <a:pt x="31" y="344"/>
                    <a:pt x="40" y="349"/>
                  </a:cubicBezTo>
                  <a:cubicBezTo>
                    <a:pt x="45" y="351"/>
                    <a:pt x="50" y="345"/>
                    <a:pt x="54" y="344"/>
                  </a:cubicBezTo>
                  <a:cubicBezTo>
                    <a:pt x="70" y="341"/>
                    <a:pt x="56" y="354"/>
                    <a:pt x="53" y="358"/>
                  </a:cubicBezTo>
                  <a:cubicBezTo>
                    <a:pt x="50" y="362"/>
                    <a:pt x="50" y="365"/>
                    <a:pt x="50" y="370"/>
                  </a:cubicBezTo>
                  <a:cubicBezTo>
                    <a:pt x="50" y="375"/>
                    <a:pt x="48" y="379"/>
                    <a:pt x="48" y="384"/>
                  </a:cubicBezTo>
                  <a:cubicBezTo>
                    <a:pt x="47" y="389"/>
                    <a:pt x="50" y="391"/>
                    <a:pt x="47" y="396"/>
                  </a:cubicBezTo>
                  <a:cubicBezTo>
                    <a:pt x="45" y="401"/>
                    <a:pt x="41" y="400"/>
                    <a:pt x="45" y="406"/>
                  </a:cubicBezTo>
                  <a:cubicBezTo>
                    <a:pt x="50" y="414"/>
                    <a:pt x="60" y="414"/>
                    <a:pt x="68" y="414"/>
                  </a:cubicBezTo>
                  <a:cubicBezTo>
                    <a:pt x="67" y="423"/>
                    <a:pt x="57" y="425"/>
                    <a:pt x="50" y="428"/>
                  </a:cubicBezTo>
                  <a:cubicBezTo>
                    <a:pt x="41" y="431"/>
                    <a:pt x="37" y="438"/>
                    <a:pt x="34" y="446"/>
                  </a:cubicBezTo>
                  <a:cubicBezTo>
                    <a:pt x="33" y="449"/>
                    <a:pt x="31" y="454"/>
                    <a:pt x="31" y="456"/>
                  </a:cubicBezTo>
                  <a:cubicBezTo>
                    <a:pt x="30" y="460"/>
                    <a:pt x="32" y="469"/>
                    <a:pt x="36" y="473"/>
                  </a:cubicBezTo>
                  <a:cubicBezTo>
                    <a:pt x="45" y="473"/>
                    <a:pt x="56" y="480"/>
                    <a:pt x="55" y="490"/>
                  </a:cubicBezTo>
                  <a:cubicBezTo>
                    <a:pt x="55" y="495"/>
                    <a:pt x="53" y="496"/>
                    <a:pt x="57" y="500"/>
                  </a:cubicBezTo>
                  <a:cubicBezTo>
                    <a:pt x="60" y="503"/>
                    <a:pt x="65" y="504"/>
                    <a:pt x="68" y="507"/>
                  </a:cubicBezTo>
                  <a:cubicBezTo>
                    <a:pt x="73" y="512"/>
                    <a:pt x="83" y="519"/>
                    <a:pt x="81" y="527"/>
                  </a:cubicBezTo>
                  <a:cubicBezTo>
                    <a:pt x="79" y="531"/>
                    <a:pt x="76" y="533"/>
                    <a:pt x="76" y="538"/>
                  </a:cubicBezTo>
                  <a:cubicBezTo>
                    <a:pt x="76" y="544"/>
                    <a:pt x="78" y="546"/>
                    <a:pt x="82" y="549"/>
                  </a:cubicBezTo>
                  <a:cubicBezTo>
                    <a:pt x="88" y="556"/>
                    <a:pt x="92" y="569"/>
                    <a:pt x="96" y="578"/>
                  </a:cubicBezTo>
                  <a:cubicBezTo>
                    <a:pt x="100" y="587"/>
                    <a:pt x="97" y="590"/>
                    <a:pt x="106" y="596"/>
                  </a:cubicBezTo>
                  <a:cubicBezTo>
                    <a:pt x="111" y="600"/>
                    <a:pt x="192" y="640"/>
                    <a:pt x="322" y="680"/>
                  </a:cubicBezTo>
                  <a:cubicBezTo>
                    <a:pt x="317" y="659"/>
                    <a:pt x="319" y="637"/>
                    <a:pt x="332" y="620"/>
                  </a:cubicBezTo>
                  <a:cubicBezTo>
                    <a:pt x="327" y="620"/>
                    <a:pt x="323" y="616"/>
                    <a:pt x="317" y="616"/>
                  </a:cubicBezTo>
                  <a:close/>
                  <a:moveTo>
                    <a:pt x="65" y="548"/>
                  </a:moveTo>
                  <a:cubicBezTo>
                    <a:pt x="61" y="537"/>
                    <a:pt x="65" y="524"/>
                    <a:pt x="59" y="513"/>
                  </a:cubicBezTo>
                  <a:cubicBezTo>
                    <a:pt x="53" y="503"/>
                    <a:pt x="42" y="498"/>
                    <a:pt x="35" y="489"/>
                  </a:cubicBezTo>
                  <a:cubicBezTo>
                    <a:pt x="29" y="481"/>
                    <a:pt x="28" y="467"/>
                    <a:pt x="17" y="463"/>
                  </a:cubicBezTo>
                  <a:cubicBezTo>
                    <a:pt x="2" y="459"/>
                    <a:pt x="10" y="476"/>
                    <a:pt x="14" y="483"/>
                  </a:cubicBezTo>
                  <a:cubicBezTo>
                    <a:pt x="0" y="487"/>
                    <a:pt x="15" y="502"/>
                    <a:pt x="20" y="507"/>
                  </a:cubicBezTo>
                  <a:cubicBezTo>
                    <a:pt x="23" y="511"/>
                    <a:pt x="28" y="515"/>
                    <a:pt x="29" y="520"/>
                  </a:cubicBezTo>
                  <a:cubicBezTo>
                    <a:pt x="30" y="527"/>
                    <a:pt x="25" y="528"/>
                    <a:pt x="25" y="533"/>
                  </a:cubicBezTo>
                  <a:cubicBezTo>
                    <a:pt x="24" y="545"/>
                    <a:pt x="34" y="549"/>
                    <a:pt x="40" y="556"/>
                  </a:cubicBezTo>
                  <a:cubicBezTo>
                    <a:pt x="48" y="565"/>
                    <a:pt x="43" y="576"/>
                    <a:pt x="49" y="586"/>
                  </a:cubicBezTo>
                  <a:cubicBezTo>
                    <a:pt x="54" y="594"/>
                    <a:pt x="66" y="608"/>
                    <a:pt x="75" y="612"/>
                  </a:cubicBezTo>
                  <a:cubicBezTo>
                    <a:pt x="82" y="617"/>
                    <a:pt x="80" y="590"/>
                    <a:pt x="80" y="587"/>
                  </a:cubicBezTo>
                  <a:cubicBezTo>
                    <a:pt x="79" y="571"/>
                    <a:pt x="70" y="563"/>
                    <a:pt x="65" y="548"/>
                  </a:cubicBez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61" name="Freeform 4028">
            <a:extLst>
              <a:ext uri="{FF2B5EF4-FFF2-40B4-BE49-F238E27FC236}">
                <a16:creationId xmlns:a16="http://schemas.microsoft.com/office/drawing/2014/main" id="{CE63C330-593E-4919-B539-5D9D376C25EA}"/>
              </a:ext>
            </a:extLst>
          </p:cNvPr>
          <p:cNvSpPr>
            <a:spLocks noEditPoints="1"/>
          </p:cNvSpPr>
          <p:nvPr/>
        </p:nvSpPr>
        <p:spPr bwMode="auto">
          <a:xfrm>
            <a:off x="1126852" y="2083115"/>
            <a:ext cx="1823722" cy="1929506"/>
          </a:xfrm>
          <a:custGeom>
            <a:avLst/>
            <a:gdLst/>
            <a:ahLst/>
            <a:cxnLst>
              <a:cxn ang="0">
                <a:pos x="861" y="668"/>
              </a:cxn>
              <a:cxn ang="0">
                <a:pos x="883" y="649"/>
              </a:cxn>
              <a:cxn ang="0">
                <a:pos x="795" y="558"/>
              </a:cxn>
              <a:cxn ang="0">
                <a:pos x="734" y="489"/>
              </a:cxn>
              <a:cxn ang="0">
                <a:pos x="666" y="461"/>
              </a:cxn>
              <a:cxn ang="0">
                <a:pos x="598" y="434"/>
              </a:cxn>
              <a:cxn ang="0">
                <a:pos x="509" y="419"/>
              </a:cxn>
              <a:cxn ang="0">
                <a:pos x="448" y="443"/>
              </a:cxn>
              <a:cxn ang="0">
                <a:pos x="582" y="526"/>
              </a:cxn>
              <a:cxn ang="0">
                <a:pos x="677" y="578"/>
              </a:cxn>
              <a:cxn ang="0">
                <a:pos x="702" y="719"/>
              </a:cxn>
              <a:cxn ang="0">
                <a:pos x="768" y="758"/>
              </a:cxn>
              <a:cxn ang="0">
                <a:pos x="908" y="780"/>
              </a:cxn>
              <a:cxn ang="0">
                <a:pos x="675" y="797"/>
              </a:cxn>
              <a:cxn ang="0">
                <a:pos x="647" y="611"/>
              </a:cxn>
              <a:cxn ang="0">
                <a:pos x="609" y="790"/>
              </a:cxn>
              <a:cxn ang="0">
                <a:pos x="531" y="795"/>
              </a:cxn>
              <a:cxn ang="0">
                <a:pos x="635" y="792"/>
              </a:cxn>
              <a:cxn ang="0">
                <a:pos x="607" y="836"/>
              </a:cxn>
              <a:cxn ang="0">
                <a:pos x="547" y="417"/>
              </a:cxn>
              <a:cxn ang="0">
                <a:pos x="590" y="656"/>
              </a:cxn>
              <a:cxn ang="0">
                <a:pos x="517" y="650"/>
              </a:cxn>
              <a:cxn ang="0">
                <a:pos x="399" y="510"/>
              </a:cxn>
              <a:cxn ang="0">
                <a:pos x="363" y="646"/>
              </a:cxn>
              <a:cxn ang="0">
                <a:pos x="185" y="682"/>
              </a:cxn>
              <a:cxn ang="0">
                <a:pos x="23" y="528"/>
              </a:cxn>
              <a:cxn ang="0">
                <a:pos x="181" y="771"/>
              </a:cxn>
              <a:cxn ang="0">
                <a:pos x="398" y="826"/>
              </a:cxn>
              <a:cxn ang="0">
                <a:pos x="446" y="738"/>
              </a:cxn>
              <a:cxn ang="0">
                <a:pos x="470" y="134"/>
              </a:cxn>
              <a:cxn ang="0">
                <a:pos x="467" y="206"/>
              </a:cxn>
              <a:cxn ang="0">
                <a:pos x="456" y="249"/>
              </a:cxn>
              <a:cxn ang="0">
                <a:pos x="533" y="266"/>
              </a:cxn>
              <a:cxn ang="0">
                <a:pos x="544" y="203"/>
              </a:cxn>
              <a:cxn ang="0">
                <a:pos x="534" y="147"/>
              </a:cxn>
              <a:cxn ang="0">
                <a:pos x="543" y="78"/>
              </a:cxn>
              <a:cxn ang="0">
                <a:pos x="480" y="13"/>
              </a:cxn>
              <a:cxn ang="0">
                <a:pos x="433" y="71"/>
              </a:cxn>
              <a:cxn ang="0">
                <a:pos x="510" y="372"/>
              </a:cxn>
              <a:cxn ang="0">
                <a:pos x="473" y="336"/>
              </a:cxn>
              <a:cxn ang="0">
                <a:pos x="388" y="295"/>
              </a:cxn>
              <a:cxn ang="0">
                <a:pos x="459" y="386"/>
              </a:cxn>
              <a:cxn ang="0">
                <a:pos x="453" y="181"/>
              </a:cxn>
              <a:cxn ang="0">
                <a:pos x="374" y="187"/>
              </a:cxn>
              <a:cxn ang="0">
                <a:pos x="385" y="495"/>
              </a:cxn>
              <a:cxn ang="0">
                <a:pos x="423" y="261"/>
              </a:cxn>
              <a:cxn ang="0">
                <a:pos x="388" y="352"/>
              </a:cxn>
              <a:cxn ang="0">
                <a:pos x="353" y="213"/>
              </a:cxn>
              <a:cxn ang="0">
                <a:pos x="365" y="616"/>
              </a:cxn>
              <a:cxn ang="0">
                <a:pos x="340" y="449"/>
              </a:cxn>
              <a:cxn ang="0">
                <a:pos x="297" y="445"/>
              </a:cxn>
              <a:cxn ang="0">
                <a:pos x="313" y="310"/>
              </a:cxn>
              <a:cxn ang="0">
                <a:pos x="343" y="306"/>
              </a:cxn>
              <a:cxn ang="0">
                <a:pos x="301" y="185"/>
              </a:cxn>
              <a:cxn ang="0">
                <a:pos x="214" y="586"/>
              </a:cxn>
              <a:cxn ang="0">
                <a:pos x="274" y="543"/>
              </a:cxn>
              <a:cxn ang="0">
                <a:pos x="197" y="441"/>
              </a:cxn>
              <a:cxn ang="0">
                <a:pos x="276" y="322"/>
              </a:cxn>
              <a:cxn ang="0">
                <a:pos x="237" y="358"/>
              </a:cxn>
              <a:cxn ang="0">
                <a:pos x="209" y="622"/>
              </a:cxn>
            </a:cxnLst>
            <a:rect l="0" t="0" r="r" b="b"/>
            <a:pathLst>
              <a:path w="921" h="974">
                <a:moveTo>
                  <a:pt x="830" y="732"/>
                </a:moveTo>
                <a:cubicBezTo>
                  <a:pt x="840" y="708"/>
                  <a:pt x="873" y="737"/>
                  <a:pt x="889" y="738"/>
                </a:cubicBezTo>
                <a:cubicBezTo>
                  <a:pt x="921" y="741"/>
                  <a:pt x="910" y="712"/>
                  <a:pt x="893" y="715"/>
                </a:cubicBezTo>
                <a:cubicBezTo>
                  <a:pt x="896" y="715"/>
                  <a:pt x="898" y="712"/>
                  <a:pt x="903" y="713"/>
                </a:cubicBezTo>
                <a:cubicBezTo>
                  <a:pt x="894" y="708"/>
                  <a:pt x="895" y="701"/>
                  <a:pt x="890" y="695"/>
                </a:cubicBezTo>
                <a:cubicBezTo>
                  <a:pt x="884" y="689"/>
                  <a:pt x="877" y="689"/>
                  <a:pt x="873" y="681"/>
                </a:cubicBezTo>
                <a:cubicBezTo>
                  <a:pt x="861" y="684"/>
                  <a:pt x="868" y="672"/>
                  <a:pt x="861" y="668"/>
                </a:cubicBezTo>
                <a:cubicBezTo>
                  <a:pt x="855" y="666"/>
                  <a:pt x="846" y="674"/>
                  <a:pt x="840" y="671"/>
                </a:cubicBezTo>
                <a:cubicBezTo>
                  <a:pt x="830" y="667"/>
                  <a:pt x="825" y="642"/>
                  <a:pt x="813" y="663"/>
                </a:cubicBezTo>
                <a:cubicBezTo>
                  <a:pt x="813" y="652"/>
                  <a:pt x="805" y="652"/>
                  <a:pt x="799" y="645"/>
                </a:cubicBezTo>
                <a:cubicBezTo>
                  <a:pt x="815" y="645"/>
                  <a:pt x="797" y="618"/>
                  <a:pt x="824" y="623"/>
                </a:cubicBezTo>
                <a:cubicBezTo>
                  <a:pt x="827" y="624"/>
                  <a:pt x="832" y="630"/>
                  <a:pt x="834" y="630"/>
                </a:cubicBezTo>
                <a:cubicBezTo>
                  <a:pt x="838" y="630"/>
                  <a:pt x="845" y="625"/>
                  <a:pt x="850" y="623"/>
                </a:cubicBezTo>
                <a:cubicBezTo>
                  <a:pt x="851" y="631"/>
                  <a:pt x="877" y="654"/>
                  <a:pt x="883" y="649"/>
                </a:cubicBezTo>
                <a:cubicBezTo>
                  <a:pt x="888" y="646"/>
                  <a:pt x="890" y="642"/>
                  <a:pt x="889" y="637"/>
                </a:cubicBezTo>
                <a:cubicBezTo>
                  <a:pt x="873" y="626"/>
                  <a:pt x="888" y="623"/>
                  <a:pt x="891" y="615"/>
                </a:cubicBezTo>
                <a:cubicBezTo>
                  <a:pt x="896" y="603"/>
                  <a:pt x="891" y="586"/>
                  <a:pt x="892" y="573"/>
                </a:cubicBezTo>
                <a:cubicBezTo>
                  <a:pt x="884" y="566"/>
                  <a:pt x="873" y="562"/>
                  <a:pt x="862" y="560"/>
                </a:cubicBezTo>
                <a:cubicBezTo>
                  <a:pt x="855" y="560"/>
                  <a:pt x="848" y="562"/>
                  <a:pt x="842" y="561"/>
                </a:cubicBezTo>
                <a:cubicBezTo>
                  <a:pt x="835" y="560"/>
                  <a:pt x="830" y="554"/>
                  <a:pt x="824" y="553"/>
                </a:cubicBezTo>
                <a:cubicBezTo>
                  <a:pt x="814" y="551"/>
                  <a:pt x="804" y="559"/>
                  <a:pt x="795" y="558"/>
                </a:cubicBezTo>
                <a:cubicBezTo>
                  <a:pt x="788" y="556"/>
                  <a:pt x="787" y="549"/>
                  <a:pt x="784" y="547"/>
                </a:cubicBezTo>
                <a:cubicBezTo>
                  <a:pt x="772" y="543"/>
                  <a:pt x="759" y="556"/>
                  <a:pt x="749" y="546"/>
                </a:cubicBezTo>
                <a:cubicBezTo>
                  <a:pt x="755" y="544"/>
                  <a:pt x="761" y="529"/>
                  <a:pt x="754" y="526"/>
                </a:cubicBezTo>
                <a:cubicBezTo>
                  <a:pt x="763" y="530"/>
                  <a:pt x="772" y="523"/>
                  <a:pt x="764" y="514"/>
                </a:cubicBezTo>
                <a:cubicBezTo>
                  <a:pt x="757" y="520"/>
                  <a:pt x="749" y="519"/>
                  <a:pt x="742" y="519"/>
                </a:cubicBezTo>
                <a:cubicBezTo>
                  <a:pt x="732" y="508"/>
                  <a:pt x="754" y="505"/>
                  <a:pt x="752" y="497"/>
                </a:cubicBezTo>
                <a:cubicBezTo>
                  <a:pt x="751" y="492"/>
                  <a:pt x="739" y="495"/>
                  <a:pt x="734" y="489"/>
                </a:cubicBezTo>
                <a:cubicBezTo>
                  <a:pt x="732" y="502"/>
                  <a:pt x="726" y="502"/>
                  <a:pt x="715" y="503"/>
                </a:cubicBezTo>
                <a:cubicBezTo>
                  <a:pt x="714" y="495"/>
                  <a:pt x="726" y="489"/>
                  <a:pt x="722" y="482"/>
                </a:cubicBezTo>
                <a:cubicBezTo>
                  <a:pt x="717" y="473"/>
                  <a:pt x="702" y="477"/>
                  <a:pt x="698" y="483"/>
                </a:cubicBezTo>
                <a:cubicBezTo>
                  <a:pt x="696" y="480"/>
                  <a:pt x="693" y="480"/>
                  <a:pt x="691" y="476"/>
                </a:cubicBezTo>
                <a:cubicBezTo>
                  <a:pt x="686" y="480"/>
                  <a:pt x="681" y="486"/>
                  <a:pt x="674" y="487"/>
                </a:cubicBezTo>
                <a:cubicBezTo>
                  <a:pt x="673" y="477"/>
                  <a:pt x="686" y="453"/>
                  <a:pt x="665" y="457"/>
                </a:cubicBezTo>
                <a:cubicBezTo>
                  <a:pt x="664" y="459"/>
                  <a:pt x="666" y="459"/>
                  <a:pt x="666" y="461"/>
                </a:cubicBezTo>
                <a:cubicBezTo>
                  <a:pt x="665" y="461"/>
                  <a:pt x="662" y="463"/>
                  <a:pt x="661" y="463"/>
                </a:cubicBezTo>
                <a:cubicBezTo>
                  <a:pt x="660" y="467"/>
                  <a:pt x="658" y="472"/>
                  <a:pt x="657" y="476"/>
                </a:cubicBezTo>
                <a:cubicBezTo>
                  <a:pt x="651" y="473"/>
                  <a:pt x="649" y="463"/>
                  <a:pt x="642" y="462"/>
                </a:cubicBezTo>
                <a:cubicBezTo>
                  <a:pt x="639" y="461"/>
                  <a:pt x="630" y="466"/>
                  <a:pt x="627" y="467"/>
                </a:cubicBezTo>
                <a:cubicBezTo>
                  <a:pt x="635" y="453"/>
                  <a:pt x="632" y="448"/>
                  <a:pt x="618" y="442"/>
                </a:cubicBezTo>
                <a:cubicBezTo>
                  <a:pt x="616" y="441"/>
                  <a:pt x="604" y="438"/>
                  <a:pt x="604" y="438"/>
                </a:cubicBezTo>
                <a:cubicBezTo>
                  <a:pt x="602" y="437"/>
                  <a:pt x="600" y="435"/>
                  <a:pt x="598" y="434"/>
                </a:cubicBezTo>
                <a:cubicBezTo>
                  <a:pt x="590" y="439"/>
                  <a:pt x="585" y="431"/>
                  <a:pt x="578" y="439"/>
                </a:cubicBezTo>
                <a:cubicBezTo>
                  <a:pt x="571" y="446"/>
                  <a:pt x="577" y="456"/>
                  <a:pt x="576" y="464"/>
                </a:cubicBezTo>
                <a:cubicBezTo>
                  <a:pt x="570" y="464"/>
                  <a:pt x="566" y="459"/>
                  <a:pt x="564" y="453"/>
                </a:cubicBezTo>
                <a:cubicBezTo>
                  <a:pt x="555" y="457"/>
                  <a:pt x="563" y="467"/>
                  <a:pt x="554" y="472"/>
                </a:cubicBezTo>
                <a:cubicBezTo>
                  <a:pt x="547" y="459"/>
                  <a:pt x="557" y="447"/>
                  <a:pt x="549" y="432"/>
                </a:cubicBezTo>
                <a:cubicBezTo>
                  <a:pt x="545" y="425"/>
                  <a:pt x="541" y="412"/>
                  <a:pt x="533" y="408"/>
                </a:cubicBezTo>
                <a:cubicBezTo>
                  <a:pt x="519" y="403"/>
                  <a:pt x="515" y="419"/>
                  <a:pt x="509" y="419"/>
                </a:cubicBezTo>
                <a:cubicBezTo>
                  <a:pt x="491" y="419"/>
                  <a:pt x="493" y="445"/>
                  <a:pt x="495" y="456"/>
                </a:cubicBezTo>
                <a:cubicBezTo>
                  <a:pt x="497" y="468"/>
                  <a:pt x="498" y="466"/>
                  <a:pt x="494" y="479"/>
                </a:cubicBezTo>
                <a:cubicBezTo>
                  <a:pt x="502" y="487"/>
                  <a:pt x="511" y="500"/>
                  <a:pt x="508" y="511"/>
                </a:cubicBezTo>
                <a:cubicBezTo>
                  <a:pt x="490" y="501"/>
                  <a:pt x="485" y="481"/>
                  <a:pt x="481" y="463"/>
                </a:cubicBezTo>
                <a:cubicBezTo>
                  <a:pt x="479" y="450"/>
                  <a:pt x="477" y="452"/>
                  <a:pt x="481" y="438"/>
                </a:cubicBezTo>
                <a:cubicBezTo>
                  <a:pt x="484" y="429"/>
                  <a:pt x="488" y="420"/>
                  <a:pt x="489" y="410"/>
                </a:cubicBezTo>
                <a:cubicBezTo>
                  <a:pt x="469" y="416"/>
                  <a:pt x="455" y="422"/>
                  <a:pt x="448" y="443"/>
                </a:cubicBezTo>
                <a:cubicBezTo>
                  <a:pt x="444" y="456"/>
                  <a:pt x="437" y="508"/>
                  <a:pt x="446" y="516"/>
                </a:cubicBezTo>
                <a:cubicBezTo>
                  <a:pt x="457" y="525"/>
                  <a:pt x="474" y="514"/>
                  <a:pt x="481" y="531"/>
                </a:cubicBezTo>
                <a:cubicBezTo>
                  <a:pt x="471" y="534"/>
                  <a:pt x="465" y="528"/>
                  <a:pt x="455" y="530"/>
                </a:cubicBezTo>
                <a:cubicBezTo>
                  <a:pt x="455" y="536"/>
                  <a:pt x="460" y="555"/>
                  <a:pt x="466" y="557"/>
                </a:cubicBezTo>
                <a:cubicBezTo>
                  <a:pt x="470" y="559"/>
                  <a:pt x="491" y="550"/>
                  <a:pt x="489" y="547"/>
                </a:cubicBezTo>
                <a:cubicBezTo>
                  <a:pt x="498" y="569"/>
                  <a:pt x="567" y="562"/>
                  <a:pt x="578" y="549"/>
                </a:cubicBezTo>
                <a:cubicBezTo>
                  <a:pt x="609" y="559"/>
                  <a:pt x="579" y="533"/>
                  <a:pt x="582" y="526"/>
                </a:cubicBezTo>
                <a:cubicBezTo>
                  <a:pt x="588" y="527"/>
                  <a:pt x="598" y="525"/>
                  <a:pt x="603" y="528"/>
                </a:cubicBezTo>
                <a:cubicBezTo>
                  <a:pt x="608" y="531"/>
                  <a:pt x="609" y="539"/>
                  <a:pt x="613" y="543"/>
                </a:cubicBezTo>
                <a:cubicBezTo>
                  <a:pt x="622" y="553"/>
                  <a:pt x="638" y="556"/>
                  <a:pt x="647" y="566"/>
                </a:cubicBezTo>
                <a:cubicBezTo>
                  <a:pt x="641" y="574"/>
                  <a:pt x="636" y="579"/>
                  <a:pt x="643" y="588"/>
                </a:cubicBezTo>
                <a:cubicBezTo>
                  <a:pt x="650" y="584"/>
                  <a:pt x="651" y="573"/>
                  <a:pt x="658" y="567"/>
                </a:cubicBezTo>
                <a:cubicBezTo>
                  <a:pt x="664" y="569"/>
                  <a:pt x="670" y="573"/>
                  <a:pt x="673" y="579"/>
                </a:cubicBezTo>
                <a:cubicBezTo>
                  <a:pt x="674" y="579"/>
                  <a:pt x="676" y="578"/>
                  <a:pt x="677" y="578"/>
                </a:cubicBezTo>
                <a:cubicBezTo>
                  <a:pt x="687" y="595"/>
                  <a:pt x="704" y="596"/>
                  <a:pt x="716" y="610"/>
                </a:cubicBezTo>
                <a:cubicBezTo>
                  <a:pt x="724" y="619"/>
                  <a:pt x="724" y="620"/>
                  <a:pt x="721" y="632"/>
                </a:cubicBezTo>
                <a:cubicBezTo>
                  <a:pt x="719" y="639"/>
                  <a:pt x="707" y="647"/>
                  <a:pt x="720" y="653"/>
                </a:cubicBezTo>
                <a:cubicBezTo>
                  <a:pt x="720" y="665"/>
                  <a:pt x="704" y="671"/>
                  <a:pt x="705" y="686"/>
                </a:cubicBezTo>
                <a:cubicBezTo>
                  <a:pt x="714" y="685"/>
                  <a:pt x="723" y="686"/>
                  <a:pt x="729" y="694"/>
                </a:cubicBezTo>
                <a:cubicBezTo>
                  <a:pt x="723" y="700"/>
                  <a:pt x="715" y="707"/>
                  <a:pt x="707" y="709"/>
                </a:cubicBezTo>
                <a:cubicBezTo>
                  <a:pt x="707" y="713"/>
                  <a:pt x="703" y="716"/>
                  <a:pt x="702" y="719"/>
                </a:cubicBezTo>
                <a:cubicBezTo>
                  <a:pt x="685" y="714"/>
                  <a:pt x="670" y="712"/>
                  <a:pt x="667" y="732"/>
                </a:cubicBezTo>
                <a:cubicBezTo>
                  <a:pt x="657" y="732"/>
                  <a:pt x="656" y="740"/>
                  <a:pt x="658" y="748"/>
                </a:cubicBezTo>
                <a:cubicBezTo>
                  <a:pt x="664" y="748"/>
                  <a:pt x="668" y="753"/>
                  <a:pt x="668" y="758"/>
                </a:cubicBezTo>
                <a:cubicBezTo>
                  <a:pt x="681" y="760"/>
                  <a:pt x="685" y="763"/>
                  <a:pt x="697" y="755"/>
                </a:cubicBezTo>
                <a:cubicBezTo>
                  <a:pt x="703" y="750"/>
                  <a:pt x="711" y="732"/>
                  <a:pt x="720" y="743"/>
                </a:cubicBezTo>
                <a:cubicBezTo>
                  <a:pt x="730" y="724"/>
                  <a:pt x="750" y="742"/>
                  <a:pt x="760" y="749"/>
                </a:cubicBezTo>
                <a:cubicBezTo>
                  <a:pt x="764" y="752"/>
                  <a:pt x="764" y="756"/>
                  <a:pt x="768" y="758"/>
                </a:cubicBezTo>
                <a:cubicBezTo>
                  <a:pt x="772" y="759"/>
                  <a:pt x="777" y="755"/>
                  <a:pt x="781" y="756"/>
                </a:cubicBezTo>
                <a:cubicBezTo>
                  <a:pt x="790" y="759"/>
                  <a:pt x="792" y="762"/>
                  <a:pt x="793" y="774"/>
                </a:cubicBezTo>
                <a:cubicBezTo>
                  <a:pt x="798" y="775"/>
                  <a:pt x="805" y="776"/>
                  <a:pt x="810" y="776"/>
                </a:cubicBezTo>
                <a:cubicBezTo>
                  <a:pt x="814" y="776"/>
                  <a:pt x="822" y="771"/>
                  <a:pt x="825" y="772"/>
                </a:cubicBezTo>
                <a:cubicBezTo>
                  <a:pt x="833" y="773"/>
                  <a:pt x="838" y="782"/>
                  <a:pt x="845" y="784"/>
                </a:cubicBezTo>
                <a:cubicBezTo>
                  <a:pt x="856" y="788"/>
                  <a:pt x="863" y="781"/>
                  <a:pt x="872" y="780"/>
                </a:cubicBezTo>
                <a:cubicBezTo>
                  <a:pt x="884" y="778"/>
                  <a:pt x="896" y="781"/>
                  <a:pt x="908" y="780"/>
                </a:cubicBezTo>
                <a:cubicBezTo>
                  <a:pt x="904" y="749"/>
                  <a:pt x="848" y="756"/>
                  <a:pt x="830" y="732"/>
                </a:cubicBezTo>
                <a:close/>
                <a:moveTo>
                  <a:pt x="686" y="797"/>
                </a:moveTo>
                <a:cubicBezTo>
                  <a:pt x="688" y="798"/>
                  <a:pt x="688" y="798"/>
                  <a:pt x="688" y="798"/>
                </a:cubicBezTo>
                <a:cubicBezTo>
                  <a:pt x="687" y="797"/>
                  <a:pt x="686" y="797"/>
                  <a:pt x="686" y="796"/>
                </a:cubicBezTo>
                <a:cubicBezTo>
                  <a:pt x="685" y="796"/>
                  <a:pt x="684" y="795"/>
                  <a:pt x="683" y="795"/>
                </a:cubicBezTo>
                <a:cubicBezTo>
                  <a:pt x="683" y="795"/>
                  <a:pt x="683" y="795"/>
                  <a:pt x="683" y="795"/>
                </a:cubicBezTo>
                <a:cubicBezTo>
                  <a:pt x="680" y="795"/>
                  <a:pt x="677" y="795"/>
                  <a:pt x="675" y="797"/>
                </a:cubicBezTo>
                <a:cubicBezTo>
                  <a:pt x="677" y="811"/>
                  <a:pt x="693" y="808"/>
                  <a:pt x="687" y="799"/>
                </a:cubicBezTo>
                <a:cubicBezTo>
                  <a:pt x="687" y="798"/>
                  <a:pt x="687" y="797"/>
                  <a:pt x="686" y="797"/>
                </a:cubicBezTo>
                <a:close/>
                <a:moveTo>
                  <a:pt x="679" y="632"/>
                </a:moveTo>
                <a:cubicBezTo>
                  <a:pt x="681" y="622"/>
                  <a:pt x="676" y="623"/>
                  <a:pt x="674" y="616"/>
                </a:cubicBezTo>
                <a:cubicBezTo>
                  <a:pt x="673" y="610"/>
                  <a:pt x="676" y="598"/>
                  <a:pt x="666" y="601"/>
                </a:cubicBezTo>
                <a:cubicBezTo>
                  <a:pt x="668" y="601"/>
                  <a:pt x="668" y="601"/>
                  <a:pt x="668" y="601"/>
                </a:cubicBezTo>
                <a:cubicBezTo>
                  <a:pt x="659" y="601"/>
                  <a:pt x="650" y="602"/>
                  <a:pt x="647" y="611"/>
                </a:cubicBezTo>
                <a:cubicBezTo>
                  <a:pt x="645" y="617"/>
                  <a:pt x="648" y="635"/>
                  <a:pt x="649" y="643"/>
                </a:cubicBezTo>
                <a:cubicBezTo>
                  <a:pt x="658" y="650"/>
                  <a:pt x="677" y="642"/>
                  <a:pt x="679" y="632"/>
                </a:cubicBezTo>
                <a:close/>
                <a:moveTo>
                  <a:pt x="661" y="846"/>
                </a:moveTo>
                <a:cubicBezTo>
                  <a:pt x="646" y="848"/>
                  <a:pt x="660" y="874"/>
                  <a:pt x="664" y="880"/>
                </a:cubicBezTo>
                <a:cubicBezTo>
                  <a:pt x="676" y="876"/>
                  <a:pt x="674" y="845"/>
                  <a:pt x="661" y="846"/>
                </a:cubicBezTo>
                <a:close/>
                <a:moveTo>
                  <a:pt x="613" y="790"/>
                </a:moveTo>
                <a:cubicBezTo>
                  <a:pt x="611" y="790"/>
                  <a:pt x="611" y="790"/>
                  <a:pt x="609" y="790"/>
                </a:cubicBezTo>
                <a:cubicBezTo>
                  <a:pt x="608" y="775"/>
                  <a:pt x="600" y="776"/>
                  <a:pt x="592" y="765"/>
                </a:cubicBezTo>
                <a:cubicBezTo>
                  <a:pt x="586" y="764"/>
                  <a:pt x="582" y="756"/>
                  <a:pt x="577" y="752"/>
                </a:cubicBezTo>
                <a:cubicBezTo>
                  <a:pt x="570" y="748"/>
                  <a:pt x="561" y="746"/>
                  <a:pt x="555" y="743"/>
                </a:cubicBezTo>
                <a:cubicBezTo>
                  <a:pt x="548" y="769"/>
                  <a:pt x="539" y="732"/>
                  <a:pt x="532" y="733"/>
                </a:cubicBezTo>
                <a:cubicBezTo>
                  <a:pt x="526" y="733"/>
                  <a:pt x="521" y="754"/>
                  <a:pt x="528" y="757"/>
                </a:cubicBezTo>
                <a:cubicBezTo>
                  <a:pt x="529" y="757"/>
                  <a:pt x="530" y="758"/>
                  <a:pt x="532" y="758"/>
                </a:cubicBezTo>
                <a:cubicBezTo>
                  <a:pt x="531" y="770"/>
                  <a:pt x="535" y="783"/>
                  <a:pt x="531" y="795"/>
                </a:cubicBezTo>
                <a:cubicBezTo>
                  <a:pt x="528" y="806"/>
                  <a:pt x="519" y="813"/>
                  <a:pt x="516" y="824"/>
                </a:cubicBezTo>
                <a:cubicBezTo>
                  <a:pt x="524" y="825"/>
                  <a:pt x="534" y="817"/>
                  <a:pt x="541" y="818"/>
                </a:cubicBezTo>
                <a:cubicBezTo>
                  <a:pt x="553" y="821"/>
                  <a:pt x="540" y="837"/>
                  <a:pt x="554" y="842"/>
                </a:cubicBezTo>
                <a:cubicBezTo>
                  <a:pt x="563" y="837"/>
                  <a:pt x="571" y="819"/>
                  <a:pt x="575" y="810"/>
                </a:cubicBezTo>
                <a:cubicBezTo>
                  <a:pt x="587" y="789"/>
                  <a:pt x="585" y="799"/>
                  <a:pt x="603" y="806"/>
                </a:cubicBezTo>
                <a:cubicBezTo>
                  <a:pt x="609" y="809"/>
                  <a:pt x="620" y="811"/>
                  <a:pt x="626" y="812"/>
                </a:cubicBezTo>
                <a:cubicBezTo>
                  <a:pt x="631" y="806"/>
                  <a:pt x="640" y="800"/>
                  <a:pt x="635" y="792"/>
                </a:cubicBezTo>
                <a:cubicBezTo>
                  <a:pt x="630" y="786"/>
                  <a:pt x="618" y="789"/>
                  <a:pt x="613" y="790"/>
                </a:cubicBezTo>
                <a:close/>
                <a:moveTo>
                  <a:pt x="607" y="836"/>
                </a:moveTo>
                <a:cubicBezTo>
                  <a:pt x="608" y="837"/>
                  <a:pt x="608" y="837"/>
                  <a:pt x="608" y="837"/>
                </a:cubicBezTo>
                <a:cubicBezTo>
                  <a:pt x="599" y="838"/>
                  <a:pt x="589" y="837"/>
                  <a:pt x="585" y="846"/>
                </a:cubicBezTo>
                <a:cubicBezTo>
                  <a:pt x="580" y="854"/>
                  <a:pt x="585" y="873"/>
                  <a:pt x="598" y="870"/>
                </a:cubicBezTo>
                <a:cubicBezTo>
                  <a:pt x="604" y="868"/>
                  <a:pt x="615" y="849"/>
                  <a:pt x="616" y="842"/>
                </a:cubicBezTo>
                <a:cubicBezTo>
                  <a:pt x="618" y="834"/>
                  <a:pt x="616" y="827"/>
                  <a:pt x="607" y="836"/>
                </a:cubicBezTo>
                <a:close/>
                <a:moveTo>
                  <a:pt x="547" y="417"/>
                </a:moveTo>
                <a:cubicBezTo>
                  <a:pt x="548" y="420"/>
                  <a:pt x="552" y="425"/>
                  <a:pt x="555" y="431"/>
                </a:cubicBezTo>
                <a:cubicBezTo>
                  <a:pt x="564" y="448"/>
                  <a:pt x="562" y="439"/>
                  <a:pt x="575" y="432"/>
                </a:cubicBezTo>
                <a:cubicBezTo>
                  <a:pt x="581" y="428"/>
                  <a:pt x="585" y="431"/>
                  <a:pt x="592" y="430"/>
                </a:cubicBezTo>
                <a:cubicBezTo>
                  <a:pt x="609" y="428"/>
                  <a:pt x="601" y="415"/>
                  <a:pt x="591" y="407"/>
                </a:cubicBezTo>
                <a:cubicBezTo>
                  <a:pt x="582" y="401"/>
                  <a:pt x="565" y="402"/>
                  <a:pt x="555" y="405"/>
                </a:cubicBezTo>
                <a:cubicBezTo>
                  <a:pt x="546" y="408"/>
                  <a:pt x="545" y="412"/>
                  <a:pt x="547" y="417"/>
                </a:cubicBezTo>
                <a:close/>
                <a:moveTo>
                  <a:pt x="480" y="741"/>
                </a:moveTo>
                <a:cubicBezTo>
                  <a:pt x="490" y="747"/>
                  <a:pt x="495" y="758"/>
                  <a:pt x="509" y="750"/>
                </a:cubicBezTo>
                <a:cubicBezTo>
                  <a:pt x="520" y="745"/>
                  <a:pt x="523" y="729"/>
                  <a:pt x="528" y="719"/>
                </a:cubicBezTo>
                <a:cubicBezTo>
                  <a:pt x="526" y="718"/>
                  <a:pt x="512" y="710"/>
                  <a:pt x="510" y="711"/>
                </a:cubicBezTo>
                <a:cubicBezTo>
                  <a:pt x="515" y="708"/>
                  <a:pt x="533" y="697"/>
                  <a:pt x="535" y="710"/>
                </a:cubicBezTo>
                <a:cubicBezTo>
                  <a:pt x="552" y="711"/>
                  <a:pt x="558" y="701"/>
                  <a:pt x="569" y="690"/>
                </a:cubicBezTo>
                <a:cubicBezTo>
                  <a:pt x="580" y="680"/>
                  <a:pt x="595" y="673"/>
                  <a:pt x="590" y="656"/>
                </a:cubicBezTo>
                <a:cubicBezTo>
                  <a:pt x="589" y="653"/>
                  <a:pt x="559" y="614"/>
                  <a:pt x="560" y="614"/>
                </a:cubicBezTo>
                <a:cubicBezTo>
                  <a:pt x="585" y="612"/>
                  <a:pt x="571" y="588"/>
                  <a:pt x="560" y="578"/>
                </a:cubicBezTo>
                <a:cubicBezTo>
                  <a:pt x="546" y="582"/>
                  <a:pt x="537" y="565"/>
                  <a:pt x="524" y="576"/>
                </a:cubicBezTo>
                <a:cubicBezTo>
                  <a:pt x="519" y="573"/>
                  <a:pt x="515" y="574"/>
                  <a:pt x="510" y="572"/>
                </a:cubicBezTo>
                <a:cubicBezTo>
                  <a:pt x="508" y="579"/>
                  <a:pt x="508" y="585"/>
                  <a:pt x="512" y="592"/>
                </a:cubicBezTo>
                <a:cubicBezTo>
                  <a:pt x="514" y="592"/>
                  <a:pt x="517" y="592"/>
                  <a:pt x="519" y="592"/>
                </a:cubicBezTo>
                <a:cubicBezTo>
                  <a:pt x="524" y="606"/>
                  <a:pt x="520" y="636"/>
                  <a:pt x="517" y="650"/>
                </a:cubicBezTo>
                <a:cubicBezTo>
                  <a:pt x="502" y="713"/>
                  <a:pt x="464" y="648"/>
                  <a:pt x="482" y="626"/>
                </a:cubicBezTo>
                <a:cubicBezTo>
                  <a:pt x="472" y="618"/>
                  <a:pt x="466" y="608"/>
                  <a:pt x="456" y="601"/>
                </a:cubicBezTo>
                <a:cubicBezTo>
                  <a:pt x="455" y="614"/>
                  <a:pt x="464" y="633"/>
                  <a:pt x="456" y="642"/>
                </a:cubicBezTo>
                <a:cubicBezTo>
                  <a:pt x="453" y="641"/>
                  <a:pt x="448" y="639"/>
                  <a:pt x="446" y="638"/>
                </a:cubicBezTo>
                <a:cubicBezTo>
                  <a:pt x="447" y="619"/>
                  <a:pt x="440" y="593"/>
                  <a:pt x="416" y="600"/>
                </a:cubicBezTo>
                <a:cubicBezTo>
                  <a:pt x="412" y="583"/>
                  <a:pt x="418" y="567"/>
                  <a:pt x="415" y="551"/>
                </a:cubicBezTo>
                <a:cubicBezTo>
                  <a:pt x="414" y="543"/>
                  <a:pt x="405" y="520"/>
                  <a:pt x="399" y="510"/>
                </a:cubicBezTo>
                <a:cubicBezTo>
                  <a:pt x="390" y="511"/>
                  <a:pt x="382" y="507"/>
                  <a:pt x="374" y="505"/>
                </a:cubicBezTo>
                <a:cubicBezTo>
                  <a:pt x="374" y="516"/>
                  <a:pt x="365" y="533"/>
                  <a:pt x="362" y="542"/>
                </a:cubicBezTo>
                <a:cubicBezTo>
                  <a:pt x="354" y="578"/>
                  <a:pt x="381" y="581"/>
                  <a:pt x="392" y="613"/>
                </a:cubicBezTo>
                <a:cubicBezTo>
                  <a:pt x="400" y="634"/>
                  <a:pt x="398" y="627"/>
                  <a:pt x="384" y="647"/>
                </a:cubicBezTo>
                <a:cubicBezTo>
                  <a:pt x="374" y="661"/>
                  <a:pt x="374" y="667"/>
                  <a:pt x="369" y="686"/>
                </a:cubicBezTo>
                <a:cubicBezTo>
                  <a:pt x="368" y="689"/>
                  <a:pt x="359" y="679"/>
                  <a:pt x="359" y="678"/>
                </a:cubicBezTo>
                <a:cubicBezTo>
                  <a:pt x="353" y="668"/>
                  <a:pt x="355" y="655"/>
                  <a:pt x="363" y="646"/>
                </a:cubicBezTo>
                <a:cubicBezTo>
                  <a:pt x="358" y="652"/>
                  <a:pt x="347" y="642"/>
                  <a:pt x="345" y="641"/>
                </a:cubicBezTo>
                <a:cubicBezTo>
                  <a:pt x="333" y="636"/>
                  <a:pt x="323" y="641"/>
                  <a:pt x="326" y="656"/>
                </a:cubicBezTo>
                <a:cubicBezTo>
                  <a:pt x="336" y="654"/>
                  <a:pt x="337" y="658"/>
                  <a:pt x="344" y="662"/>
                </a:cubicBezTo>
                <a:cubicBezTo>
                  <a:pt x="333" y="677"/>
                  <a:pt x="326" y="664"/>
                  <a:pt x="315" y="663"/>
                </a:cubicBezTo>
                <a:cubicBezTo>
                  <a:pt x="302" y="661"/>
                  <a:pt x="288" y="667"/>
                  <a:pt x="276" y="664"/>
                </a:cubicBezTo>
                <a:cubicBezTo>
                  <a:pt x="255" y="659"/>
                  <a:pt x="206" y="599"/>
                  <a:pt x="187" y="642"/>
                </a:cubicBezTo>
                <a:cubicBezTo>
                  <a:pt x="185" y="645"/>
                  <a:pt x="185" y="682"/>
                  <a:pt x="185" y="682"/>
                </a:cubicBezTo>
                <a:cubicBezTo>
                  <a:pt x="179" y="682"/>
                  <a:pt x="177" y="680"/>
                  <a:pt x="173" y="676"/>
                </a:cubicBezTo>
                <a:cubicBezTo>
                  <a:pt x="189" y="627"/>
                  <a:pt x="98" y="630"/>
                  <a:pt x="75" y="608"/>
                </a:cubicBezTo>
                <a:cubicBezTo>
                  <a:pt x="78" y="602"/>
                  <a:pt x="79" y="601"/>
                  <a:pt x="85" y="600"/>
                </a:cubicBezTo>
                <a:cubicBezTo>
                  <a:pt x="100" y="610"/>
                  <a:pt x="101" y="587"/>
                  <a:pt x="95" y="578"/>
                </a:cubicBezTo>
                <a:cubicBezTo>
                  <a:pt x="88" y="568"/>
                  <a:pt x="73" y="567"/>
                  <a:pt x="62" y="566"/>
                </a:cubicBezTo>
                <a:cubicBezTo>
                  <a:pt x="54" y="550"/>
                  <a:pt x="40" y="538"/>
                  <a:pt x="26" y="526"/>
                </a:cubicBezTo>
                <a:cubicBezTo>
                  <a:pt x="25" y="527"/>
                  <a:pt x="24" y="527"/>
                  <a:pt x="23" y="528"/>
                </a:cubicBezTo>
                <a:cubicBezTo>
                  <a:pt x="13" y="535"/>
                  <a:pt x="0" y="566"/>
                  <a:pt x="1" y="578"/>
                </a:cubicBezTo>
                <a:cubicBezTo>
                  <a:pt x="2" y="597"/>
                  <a:pt x="23" y="607"/>
                  <a:pt x="35" y="621"/>
                </a:cubicBezTo>
                <a:cubicBezTo>
                  <a:pt x="49" y="637"/>
                  <a:pt x="43" y="655"/>
                  <a:pt x="56" y="670"/>
                </a:cubicBezTo>
                <a:cubicBezTo>
                  <a:pt x="68" y="683"/>
                  <a:pt x="76" y="704"/>
                  <a:pt x="88" y="715"/>
                </a:cubicBezTo>
                <a:cubicBezTo>
                  <a:pt x="97" y="723"/>
                  <a:pt x="111" y="718"/>
                  <a:pt x="119" y="726"/>
                </a:cubicBezTo>
                <a:cubicBezTo>
                  <a:pt x="126" y="732"/>
                  <a:pt x="125" y="746"/>
                  <a:pt x="127" y="755"/>
                </a:cubicBezTo>
                <a:cubicBezTo>
                  <a:pt x="144" y="761"/>
                  <a:pt x="163" y="765"/>
                  <a:pt x="181" y="771"/>
                </a:cubicBezTo>
                <a:cubicBezTo>
                  <a:pt x="207" y="779"/>
                  <a:pt x="250" y="805"/>
                  <a:pt x="250" y="805"/>
                </a:cubicBezTo>
                <a:cubicBezTo>
                  <a:pt x="250" y="805"/>
                  <a:pt x="248" y="867"/>
                  <a:pt x="243" y="893"/>
                </a:cubicBezTo>
                <a:cubicBezTo>
                  <a:pt x="240" y="916"/>
                  <a:pt x="236" y="940"/>
                  <a:pt x="234" y="963"/>
                </a:cubicBezTo>
                <a:cubicBezTo>
                  <a:pt x="282" y="969"/>
                  <a:pt x="332" y="973"/>
                  <a:pt x="384" y="974"/>
                </a:cubicBezTo>
                <a:cubicBezTo>
                  <a:pt x="391" y="939"/>
                  <a:pt x="406" y="900"/>
                  <a:pt x="426" y="872"/>
                </a:cubicBezTo>
                <a:cubicBezTo>
                  <a:pt x="434" y="862"/>
                  <a:pt x="464" y="858"/>
                  <a:pt x="448" y="840"/>
                </a:cubicBezTo>
                <a:cubicBezTo>
                  <a:pt x="439" y="829"/>
                  <a:pt x="411" y="827"/>
                  <a:pt x="398" y="826"/>
                </a:cubicBezTo>
                <a:cubicBezTo>
                  <a:pt x="397" y="806"/>
                  <a:pt x="434" y="824"/>
                  <a:pt x="443" y="827"/>
                </a:cubicBezTo>
                <a:cubicBezTo>
                  <a:pt x="453" y="831"/>
                  <a:pt x="457" y="835"/>
                  <a:pt x="466" y="822"/>
                </a:cubicBezTo>
                <a:cubicBezTo>
                  <a:pt x="472" y="813"/>
                  <a:pt x="475" y="809"/>
                  <a:pt x="489" y="813"/>
                </a:cubicBezTo>
                <a:cubicBezTo>
                  <a:pt x="496" y="804"/>
                  <a:pt x="503" y="790"/>
                  <a:pt x="508" y="779"/>
                </a:cubicBezTo>
                <a:cubicBezTo>
                  <a:pt x="510" y="773"/>
                  <a:pt x="512" y="765"/>
                  <a:pt x="506" y="761"/>
                </a:cubicBezTo>
                <a:cubicBezTo>
                  <a:pt x="499" y="756"/>
                  <a:pt x="494" y="762"/>
                  <a:pt x="488" y="762"/>
                </a:cubicBezTo>
                <a:cubicBezTo>
                  <a:pt x="472" y="762"/>
                  <a:pt x="459" y="745"/>
                  <a:pt x="446" y="738"/>
                </a:cubicBezTo>
                <a:cubicBezTo>
                  <a:pt x="454" y="742"/>
                  <a:pt x="470" y="736"/>
                  <a:pt x="480" y="741"/>
                </a:cubicBezTo>
                <a:close/>
                <a:moveTo>
                  <a:pt x="415" y="112"/>
                </a:moveTo>
                <a:cubicBezTo>
                  <a:pt x="420" y="116"/>
                  <a:pt x="434" y="108"/>
                  <a:pt x="441" y="105"/>
                </a:cubicBezTo>
                <a:cubicBezTo>
                  <a:pt x="438" y="115"/>
                  <a:pt x="431" y="131"/>
                  <a:pt x="446" y="132"/>
                </a:cubicBezTo>
                <a:cubicBezTo>
                  <a:pt x="453" y="133"/>
                  <a:pt x="466" y="124"/>
                  <a:pt x="472" y="120"/>
                </a:cubicBezTo>
                <a:cubicBezTo>
                  <a:pt x="476" y="117"/>
                  <a:pt x="490" y="100"/>
                  <a:pt x="492" y="112"/>
                </a:cubicBezTo>
                <a:cubicBezTo>
                  <a:pt x="494" y="124"/>
                  <a:pt x="472" y="126"/>
                  <a:pt x="470" y="134"/>
                </a:cubicBezTo>
                <a:cubicBezTo>
                  <a:pt x="468" y="141"/>
                  <a:pt x="482" y="155"/>
                  <a:pt x="483" y="165"/>
                </a:cubicBezTo>
                <a:cubicBezTo>
                  <a:pt x="469" y="161"/>
                  <a:pt x="466" y="148"/>
                  <a:pt x="454" y="145"/>
                </a:cubicBezTo>
                <a:cubicBezTo>
                  <a:pt x="436" y="140"/>
                  <a:pt x="440" y="156"/>
                  <a:pt x="448" y="165"/>
                </a:cubicBezTo>
                <a:cubicBezTo>
                  <a:pt x="451" y="169"/>
                  <a:pt x="456" y="171"/>
                  <a:pt x="459" y="176"/>
                </a:cubicBezTo>
                <a:cubicBezTo>
                  <a:pt x="462" y="182"/>
                  <a:pt x="460" y="187"/>
                  <a:pt x="466" y="192"/>
                </a:cubicBezTo>
                <a:cubicBezTo>
                  <a:pt x="470" y="195"/>
                  <a:pt x="481" y="192"/>
                  <a:pt x="481" y="199"/>
                </a:cubicBezTo>
                <a:cubicBezTo>
                  <a:pt x="481" y="207"/>
                  <a:pt x="471" y="205"/>
                  <a:pt x="467" y="206"/>
                </a:cubicBezTo>
                <a:cubicBezTo>
                  <a:pt x="449" y="208"/>
                  <a:pt x="441" y="215"/>
                  <a:pt x="441" y="235"/>
                </a:cubicBezTo>
                <a:cubicBezTo>
                  <a:pt x="446" y="241"/>
                  <a:pt x="449" y="236"/>
                  <a:pt x="455" y="238"/>
                </a:cubicBezTo>
                <a:cubicBezTo>
                  <a:pt x="464" y="241"/>
                  <a:pt x="457" y="240"/>
                  <a:pt x="462" y="247"/>
                </a:cubicBezTo>
                <a:cubicBezTo>
                  <a:pt x="470" y="256"/>
                  <a:pt x="471" y="245"/>
                  <a:pt x="478" y="248"/>
                </a:cubicBezTo>
                <a:cubicBezTo>
                  <a:pt x="489" y="253"/>
                  <a:pt x="479" y="260"/>
                  <a:pt x="471" y="260"/>
                </a:cubicBezTo>
                <a:cubicBezTo>
                  <a:pt x="463" y="260"/>
                  <a:pt x="462" y="257"/>
                  <a:pt x="456" y="253"/>
                </a:cubicBezTo>
                <a:cubicBezTo>
                  <a:pt x="456" y="252"/>
                  <a:pt x="456" y="250"/>
                  <a:pt x="456" y="249"/>
                </a:cubicBezTo>
                <a:cubicBezTo>
                  <a:pt x="443" y="244"/>
                  <a:pt x="442" y="255"/>
                  <a:pt x="439" y="264"/>
                </a:cubicBezTo>
                <a:cubicBezTo>
                  <a:pt x="463" y="274"/>
                  <a:pt x="420" y="287"/>
                  <a:pt x="439" y="306"/>
                </a:cubicBezTo>
                <a:cubicBezTo>
                  <a:pt x="447" y="306"/>
                  <a:pt x="457" y="305"/>
                  <a:pt x="464" y="306"/>
                </a:cubicBezTo>
                <a:cubicBezTo>
                  <a:pt x="471" y="306"/>
                  <a:pt x="475" y="311"/>
                  <a:pt x="480" y="300"/>
                </a:cubicBezTo>
                <a:cubicBezTo>
                  <a:pt x="490" y="304"/>
                  <a:pt x="500" y="294"/>
                  <a:pt x="512" y="293"/>
                </a:cubicBezTo>
                <a:cubicBezTo>
                  <a:pt x="512" y="298"/>
                  <a:pt x="512" y="303"/>
                  <a:pt x="514" y="307"/>
                </a:cubicBezTo>
                <a:cubicBezTo>
                  <a:pt x="521" y="301"/>
                  <a:pt x="555" y="272"/>
                  <a:pt x="533" y="266"/>
                </a:cubicBezTo>
                <a:cubicBezTo>
                  <a:pt x="530" y="271"/>
                  <a:pt x="527" y="273"/>
                  <a:pt x="522" y="273"/>
                </a:cubicBezTo>
                <a:cubicBezTo>
                  <a:pt x="522" y="271"/>
                  <a:pt x="522" y="270"/>
                  <a:pt x="523" y="268"/>
                </a:cubicBezTo>
                <a:cubicBezTo>
                  <a:pt x="514" y="262"/>
                  <a:pt x="499" y="269"/>
                  <a:pt x="496" y="254"/>
                </a:cubicBezTo>
                <a:cubicBezTo>
                  <a:pt x="506" y="254"/>
                  <a:pt x="512" y="262"/>
                  <a:pt x="523" y="254"/>
                </a:cubicBezTo>
                <a:cubicBezTo>
                  <a:pt x="533" y="245"/>
                  <a:pt x="522" y="240"/>
                  <a:pt x="526" y="228"/>
                </a:cubicBezTo>
                <a:cubicBezTo>
                  <a:pt x="532" y="227"/>
                  <a:pt x="550" y="219"/>
                  <a:pt x="534" y="218"/>
                </a:cubicBezTo>
                <a:cubicBezTo>
                  <a:pt x="533" y="208"/>
                  <a:pt x="546" y="215"/>
                  <a:pt x="544" y="203"/>
                </a:cubicBezTo>
                <a:cubicBezTo>
                  <a:pt x="541" y="203"/>
                  <a:pt x="538" y="201"/>
                  <a:pt x="535" y="202"/>
                </a:cubicBezTo>
                <a:cubicBezTo>
                  <a:pt x="540" y="195"/>
                  <a:pt x="543" y="190"/>
                  <a:pt x="533" y="184"/>
                </a:cubicBezTo>
                <a:cubicBezTo>
                  <a:pt x="529" y="184"/>
                  <a:pt x="526" y="183"/>
                  <a:pt x="523" y="182"/>
                </a:cubicBezTo>
                <a:cubicBezTo>
                  <a:pt x="523" y="179"/>
                  <a:pt x="522" y="180"/>
                  <a:pt x="521" y="179"/>
                </a:cubicBezTo>
                <a:cubicBezTo>
                  <a:pt x="521" y="174"/>
                  <a:pt x="518" y="173"/>
                  <a:pt x="513" y="174"/>
                </a:cubicBezTo>
                <a:cubicBezTo>
                  <a:pt x="517" y="168"/>
                  <a:pt x="523" y="169"/>
                  <a:pt x="527" y="165"/>
                </a:cubicBezTo>
                <a:cubicBezTo>
                  <a:pt x="530" y="163"/>
                  <a:pt x="533" y="151"/>
                  <a:pt x="534" y="147"/>
                </a:cubicBezTo>
                <a:cubicBezTo>
                  <a:pt x="534" y="148"/>
                  <a:pt x="550" y="143"/>
                  <a:pt x="551" y="142"/>
                </a:cubicBezTo>
                <a:cubicBezTo>
                  <a:pt x="557" y="136"/>
                  <a:pt x="554" y="124"/>
                  <a:pt x="546" y="122"/>
                </a:cubicBezTo>
                <a:cubicBezTo>
                  <a:pt x="550" y="114"/>
                  <a:pt x="554" y="111"/>
                  <a:pt x="556" y="102"/>
                </a:cubicBezTo>
                <a:cubicBezTo>
                  <a:pt x="557" y="95"/>
                  <a:pt x="558" y="88"/>
                  <a:pt x="561" y="80"/>
                </a:cubicBezTo>
                <a:cubicBezTo>
                  <a:pt x="561" y="80"/>
                  <a:pt x="562" y="80"/>
                  <a:pt x="562" y="81"/>
                </a:cubicBezTo>
                <a:cubicBezTo>
                  <a:pt x="564" y="77"/>
                  <a:pt x="564" y="58"/>
                  <a:pt x="564" y="54"/>
                </a:cubicBezTo>
                <a:cubicBezTo>
                  <a:pt x="553" y="56"/>
                  <a:pt x="553" y="74"/>
                  <a:pt x="543" y="78"/>
                </a:cubicBezTo>
                <a:cubicBezTo>
                  <a:pt x="542" y="68"/>
                  <a:pt x="543" y="60"/>
                  <a:pt x="540" y="51"/>
                </a:cubicBezTo>
                <a:cubicBezTo>
                  <a:pt x="543" y="51"/>
                  <a:pt x="545" y="51"/>
                  <a:pt x="549" y="53"/>
                </a:cubicBezTo>
                <a:cubicBezTo>
                  <a:pt x="558" y="42"/>
                  <a:pt x="567" y="22"/>
                  <a:pt x="553" y="10"/>
                </a:cubicBezTo>
                <a:cubicBezTo>
                  <a:pt x="542" y="1"/>
                  <a:pt x="529" y="18"/>
                  <a:pt x="521" y="11"/>
                </a:cubicBezTo>
                <a:cubicBezTo>
                  <a:pt x="516" y="7"/>
                  <a:pt x="523" y="5"/>
                  <a:pt x="515" y="1"/>
                </a:cubicBezTo>
                <a:cubicBezTo>
                  <a:pt x="510" y="0"/>
                  <a:pt x="506" y="2"/>
                  <a:pt x="502" y="4"/>
                </a:cubicBezTo>
                <a:cubicBezTo>
                  <a:pt x="497" y="6"/>
                  <a:pt x="484" y="10"/>
                  <a:pt x="480" y="13"/>
                </a:cubicBezTo>
                <a:cubicBezTo>
                  <a:pt x="475" y="17"/>
                  <a:pt x="477" y="18"/>
                  <a:pt x="475" y="24"/>
                </a:cubicBezTo>
                <a:cubicBezTo>
                  <a:pt x="472" y="29"/>
                  <a:pt x="466" y="31"/>
                  <a:pt x="461" y="29"/>
                </a:cubicBezTo>
                <a:cubicBezTo>
                  <a:pt x="456" y="35"/>
                  <a:pt x="455" y="39"/>
                  <a:pt x="452" y="46"/>
                </a:cubicBezTo>
                <a:cubicBezTo>
                  <a:pt x="447" y="56"/>
                  <a:pt x="446" y="56"/>
                  <a:pt x="435" y="51"/>
                </a:cubicBezTo>
                <a:cubicBezTo>
                  <a:pt x="433" y="52"/>
                  <a:pt x="431" y="56"/>
                  <a:pt x="430" y="58"/>
                </a:cubicBezTo>
                <a:cubicBezTo>
                  <a:pt x="432" y="61"/>
                  <a:pt x="434" y="65"/>
                  <a:pt x="436" y="68"/>
                </a:cubicBezTo>
                <a:cubicBezTo>
                  <a:pt x="435" y="69"/>
                  <a:pt x="434" y="70"/>
                  <a:pt x="433" y="71"/>
                </a:cubicBezTo>
                <a:cubicBezTo>
                  <a:pt x="424" y="66"/>
                  <a:pt x="424" y="72"/>
                  <a:pt x="418" y="76"/>
                </a:cubicBezTo>
                <a:cubicBezTo>
                  <a:pt x="413" y="79"/>
                  <a:pt x="407" y="79"/>
                  <a:pt x="402" y="83"/>
                </a:cubicBezTo>
                <a:cubicBezTo>
                  <a:pt x="401" y="84"/>
                  <a:pt x="401" y="88"/>
                  <a:pt x="401" y="89"/>
                </a:cubicBezTo>
                <a:cubicBezTo>
                  <a:pt x="415" y="89"/>
                  <a:pt x="406" y="106"/>
                  <a:pt x="415" y="112"/>
                </a:cubicBezTo>
                <a:close/>
                <a:moveTo>
                  <a:pt x="459" y="386"/>
                </a:moveTo>
                <a:cubicBezTo>
                  <a:pt x="466" y="388"/>
                  <a:pt x="476" y="385"/>
                  <a:pt x="483" y="384"/>
                </a:cubicBezTo>
                <a:cubicBezTo>
                  <a:pt x="493" y="382"/>
                  <a:pt x="500" y="373"/>
                  <a:pt x="510" y="372"/>
                </a:cubicBezTo>
                <a:cubicBezTo>
                  <a:pt x="516" y="371"/>
                  <a:pt x="518" y="378"/>
                  <a:pt x="526" y="374"/>
                </a:cubicBezTo>
                <a:cubicBezTo>
                  <a:pt x="536" y="370"/>
                  <a:pt x="537" y="357"/>
                  <a:pt x="533" y="348"/>
                </a:cubicBezTo>
                <a:cubicBezTo>
                  <a:pt x="531" y="343"/>
                  <a:pt x="538" y="338"/>
                  <a:pt x="532" y="331"/>
                </a:cubicBezTo>
                <a:cubicBezTo>
                  <a:pt x="527" y="326"/>
                  <a:pt x="522" y="327"/>
                  <a:pt x="516" y="326"/>
                </a:cubicBezTo>
                <a:cubicBezTo>
                  <a:pt x="508" y="325"/>
                  <a:pt x="497" y="326"/>
                  <a:pt x="490" y="329"/>
                </a:cubicBezTo>
                <a:cubicBezTo>
                  <a:pt x="486" y="331"/>
                  <a:pt x="484" y="335"/>
                  <a:pt x="481" y="336"/>
                </a:cubicBezTo>
                <a:cubicBezTo>
                  <a:pt x="479" y="336"/>
                  <a:pt x="474" y="336"/>
                  <a:pt x="473" y="336"/>
                </a:cubicBezTo>
                <a:cubicBezTo>
                  <a:pt x="464" y="340"/>
                  <a:pt x="464" y="344"/>
                  <a:pt x="454" y="344"/>
                </a:cubicBezTo>
                <a:cubicBezTo>
                  <a:pt x="439" y="345"/>
                  <a:pt x="445" y="338"/>
                  <a:pt x="437" y="333"/>
                </a:cubicBezTo>
                <a:cubicBezTo>
                  <a:pt x="429" y="328"/>
                  <a:pt x="420" y="338"/>
                  <a:pt x="419" y="326"/>
                </a:cubicBezTo>
                <a:cubicBezTo>
                  <a:pt x="418" y="318"/>
                  <a:pt x="428" y="316"/>
                  <a:pt x="426" y="309"/>
                </a:cubicBezTo>
                <a:cubicBezTo>
                  <a:pt x="426" y="310"/>
                  <a:pt x="412" y="300"/>
                  <a:pt x="413" y="300"/>
                </a:cubicBezTo>
                <a:cubicBezTo>
                  <a:pt x="406" y="298"/>
                  <a:pt x="401" y="304"/>
                  <a:pt x="394" y="304"/>
                </a:cubicBezTo>
                <a:cubicBezTo>
                  <a:pt x="394" y="298"/>
                  <a:pt x="394" y="296"/>
                  <a:pt x="388" y="295"/>
                </a:cubicBezTo>
                <a:cubicBezTo>
                  <a:pt x="385" y="294"/>
                  <a:pt x="385" y="294"/>
                  <a:pt x="385" y="294"/>
                </a:cubicBezTo>
                <a:cubicBezTo>
                  <a:pt x="374" y="284"/>
                  <a:pt x="361" y="282"/>
                  <a:pt x="363" y="300"/>
                </a:cubicBezTo>
                <a:cubicBezTo>
                  <a:pt x="370" y="305"/>
                  <a:pt x="378" y="314"/>
                  <a:pt x="386" y="317"/>
                </a:cubicBezTo>
                <a:cubicBezTo>
                  <a:pt x="393" y="318"/>
                  <a:pt x="396" y="313"/>
                  <a:pt x="401" y="319"/>
                </a:cubicBezTo>
                <a:cubicBezTo>
                  <a:pt x="413" y="335"/>
                  <a:pt x="402" y="377"/>
                  <a:pt x="423" y="385"/>
                </a:cubicBezTo>
                <a:cubicBezTo>
                  <a:pt x="435" y="389"/>
                  <a:pt x="437" y="381"/>
                  <a:pt x="445" y="376"/>
                </a:cubicBezTo>
                <a:cubicBezTo>
                  <a:pt x="451" y="379"/>
                  <a:pt x="452" y="384"/>
                  <a:pt x="459" y="386"/>
                </a:cubicBezTo>
                <a:close/>
                <a:moveTo>
                  <a:pt x="392" y="199"/>
                </a:moveTo>
                <a:cubicBezTo>
                  <a:pt x="391" y="200"/>
                  <a:pt x="388" y="200"/>
                  <a:pt x="386" y="203"/>
                </a:cubicBezTo>
                <a:cubicBezTo>
                  <a:pt x="385" y="206"/>
                  <a:pt x="387" y="218"/>
                  <a:pt x="387" y="220"/>
                </a:cubicBezTo>
                <a:cubicBezTo>
                  <a:pt x="391" y="220"/>
                  <a:pt x="394" y="221"/>
                  <a:pt x="397" y="219"/>
                </a:cubicBezTo>
                <a:cubicBezTo>
                  <a:pt x="401" y="224"/>
                  <a:pt x="400" y="233"/>
                  <a:pt x="407" y="235"/>
                </a:cubicBezTo>
                <a:cubicBezTo>
                  <a:pt x="413" y="237"/>
                  <a:pt x="422" y="231"/>
                  <a:pt x="425" y="227"/>
                </a:cubicBezTo>
                <a:cubicBezTo>
                  <a:pt x="433" y="217"/>
                  <a:pt x="456" y="195"/>
                  <a:pt x="453" y="181"/>
                </a:cubicBezTo>
                <a:cubicBezTo>
                  <a:pt x="452" y="174"/>
                  <a:pt x="441" y="168"/>
                  <a:pt x="436" y="164"/>
                </a:cubicBezTo>
                <a:cubicBezTo>
                  <a:pt x="431" y="161"/>
                  <a:pt x="424" y="158"/>
                  <a:pt x="420" y="154"/>
                </a:cubicBezTo>
                <a:cubicBezTo>
                  <a:pt x="412" y="146"/>
                  <a:pt x="402" y="97"/>
                  <a:pt x="385" y="106"/>
                </a:cubicBezTo>
                <a:cubicBezTo>
                  <a:pt x="390" y="105"/>
                  <a:pt x="390" y="105"/>
                  <a:pt x="390" y="105"/>
                </a:cubicBezTo>
                <a:cubicBezTo>
                  <a:pt x="384" y="110"/>
                  <a:pt x="376" y="121"/>
                  <a:pt x="377" y="129"/>
                </a:cubicBezTo>
                <a:cubicBezTo>
                  <a:pt x="377" y="141"/>
                  <a:pt x="387" y="146"/>
                  <a:pt x="379" y="159"/>
                </a:cubicBezTo>
                <a:cubicBezTo>
                  <a:pt x="358" y="156"/>
                  <a:pt x="372" y="175"/>
                  <a:pt x="374" y="187"/>
                </a:cubicBezTo>
                <a:cubicBezTo>
                  <a:pt x="385" y="190"/>
                  <a:pt x="406" y="179"/>
                  <a:pt x="392" y="199"/>
                </a:cubicBezTo>
                <a:close/>
                <a:moveTo>
                  <a:pt x="411" y="461"/>
                </a:moveTo>
                <a:cubicBezTo>
                  <a:pt x="419" y="458"/>
                  <a:pt x="436" y="419"/>
                  <a:pt x="428" y="413"/>
                </a:cubicBezTo>
                <a:cubicBezTo>
                  <a:pt x="418" y="405"/>
                  <a:pt x="404" y="420"/>
                  <a:pt x="398" y="405"/>
                </a:cubicBezTo>
                <a:cubicBezTo>
                  <a:pt x="393" y="394"/>
                  <a:pt x="371" y="427"/>
                  <a:pt x="370" y="432"/>
                </a:cubicBezTo>
                <a:cubicBezTo>
                  <a:pt x="367" y="442"/>
                  <a:pt x="369" y="458"/>
                  <a:pt x="370" y="468"/>
                </a:cubicBezTo>
                <a:cubicBezTo>
                  <a:pt x="382" y="469"/>
                  <a:pt x="376" y="489"/>
                  <a:pt x="385" y="495"/>
                </a:cubicBezTo>
                <a:cubicBezTo>
                  <a:pt x="396" y="486"/>
                  <a:pt x="388" y="477"/>
                  <a:pt x="392" y="466"/>
                </a:cubicBezTo>
                <a:cubicBezTo>
                  <a:pt x="396" y="453"/>
                  <a:pt x="401" y="465"/>
                  <a:pt x="411" y="461"/>
                </a:cubicBezTo>
                <a:close/>
                <a:moveTo>
                  <a:pt x="423" y="261"/>
                </a:moveTo>
                <a:cubicBezTo>
                  <a:pt x="423" y="264"/>
                  <a:pt x="423" y="264"/>
                  <a:pt x="423" y="264"/>
                </a:cubicBezTo>
                <a:cubicBezTo>
                  <a:pt x="417" y="262"/>
                  <a:pt x="413" y="266"/>
                  <a:pt x="412" y="271"/>
                </a:cubicBezTo>
                <a:cubicBezTo>
                  <a:pt x="417" y="273"/>
                  <a:pt x="422" y="274"/>
                  <a:pt x="427" y="274"/>
                </a:cubicBezTo>
                <a:cubicBezTo>
                  <a:pt x="429" y="269"/>
                  <a:pt x="427" y="264"/>
                  <a:pt x="423" y="261"/>
                </a:cubicBezTo>
                <a:close/>
                <a:moveTo>
                  <a:pt x="392" y="270"/>
                </a:moveTo>
                <a:cubicBezTo>
                  <a:pt x="404" y="262"/>
                  <a:pt x="388" y="253"/>
                  <a:pt x="380" y="255"/>
                </a:cubicBezTo>
                <a:cubicBezTo>
                  <a:pt x="373" y="255"/>
                  <a:pt x="365" y="257"/>
                  <a:pt x="367" y="264"/>
                </a:cubicBezTo>
                <a:cubicBezTo>
                  <a:pt x="373" y="264"/>
                  <a:pt x="376" y="266"/>
                  <a:pt x="380" y="267"/>
                </a:cubicBezTo>
                <a:cubicBezTo>
                  <a:pt x="384" y="268"/>
                  <a:pt x="387" y="273"/>
                  <a:pt x="392" y="270"/>
                </a:cubicBezTo>
                <a:close/>
                <a:moveTo>
                  <a:pt x="379" y="380"/>
                </a:moveTo>
                <a:cubicBezTo>
                  <a:pt x="393" y="380"/>
                  <a:pt x="398" y="360"/>
                  <a:pt x="388" y="352"/>
                </a:cubicBezTo>
                <a:cubicBezTo>
                  <a:pt x="372" y="338"/>
                  <a:pt x="355" y="379"/>
                  <a:pt x="379" y="380"/>
                </a:cubicBezTo>
                <a:close/>
                <a:moveTo>
                  <a:pt x="358" y="235"/>
                </a:moveTo>
                <a:cubicBezTo>
                  <a:pt x="359" y="243"/>
                  <a:pt x="352" y="246"/>
                  <a:pt x="360" y="254"/>
                </a:cubicBezTo>
                <a:cubicBezTo>
                  <a:pt x="364" y="253"/>
                  <a:pt x="367" y="249"/>
                  <a:pt x="369" y="245"/>
                </a:cubicBezTo>
                <a:cubicBezTo>
                  <a:pt x="373" y="247"/>
                  <a:pt x="375" y="246"/>
                  <a:pt x="379" y="245"/>
                </a:cubicBezTo>
                <a:cubicBezTo>
                  <a:pt x="379" y="235"/>
                  <a:pt x="368" y="202"/>
                  <a:pt x="353" y="213"/>
                </a:cubicBezTo>
                <a:cubicBezTo>
                  <a:pt x="353" y="213"/>
                  <a:pt x="353" y="213"/>
                  <a:pt x="353" y="213"/>
                </a:cubicBezTo>
                <a:cubicBezTo>
                  <a:pt x="346" y="221"/>
                  <a:pt x="356" y="228"/>
                  <a:pt x="358" y="235"/>
                </a:cubicBezTo>
                <a:close/>
                <a:moveTo>
                  <a:pt x="350" y="592"/>
                </a:moveTo>
                <a:cubicBezTo>
                  <a:pt x="346" y="587"/>
                  <a:pt x="339" y="572"/>
                  <a:pt x="332" y="584"/>
                </a:cubicBezTo>
                <a:cubicBezTo>
                  <a:pt x="328" y="587"/>
                  <a:pt x="328" y="596"/>
                  <a:pt x="329" y="601"/>
                </a:cubicBezTo>
                <a:cubicBezTo>
                  <a:pt x="313" y="603"/>
                  <a:pt x="312" y="616"/>
                  <a:pt x="323" y="624"/>
                </a:cubicBezTo>
                <a:cubicBezTo>
                  <a:pt x="331" y="629"/>
                  <a:pt x="348" y="634"/>
                  <a:pt x="357" y="633"/>
                </a:cubicBezTo>
                <a:cubicBezTo>
                  <a:pt x="366" y="631"/>
                  <a:pt x="371" y="624"/>
                  <a:pt x="365" y="616"/>
                </a:cubicBezTo>
                <a:cubicBezTo>
                  <a:pt x="368" y="608"/>
                  <a:pt x="354" y="599"/>
                  <a:pt x="350" y="592"/>
                </a:cubicBezTo>
                <a:close/>
                <a:moveTo>
                  <a:pt x="333" y="516"/>
                </a:moveTo>
                <a:cubicBezTo>
                  <a:pt x="336" y="514"/>
                  <a:pt x="336" y="508"/>
                  <a:pt x="339" y="505"/>
                </a:cubicBezTo>
                <a:cubicBezTo>
                  <a:pt x="342" y="502"/>
                  <a:pt x="347" y="503"/>
                  <a:pt x="350" y="500"/>
                </a:cubicBezTo>
                <a:cubicBezTo>
                  <a:pt x="361" y="492"/>
                  <a:pt x="360" y="477"/>
                  <a:pt x="358" y="465"/>
                </a:cubicBezTo>
                <a:cubicBezTo>
                  <a:pt x="356" y="465"/>
                  <a:pt x="354" y="465"/>
                  <a:pt x="353" y="465"/>
                </a:cubicBezTo>
                <a:cubicBezTo>
                  <a:pt x="355" y="455"/>
                  <a:pt x="347" y="452"/>
                  <a:pt x="340" y="449"/>
                </a:cubicBezTo>
                <a:cubicBezTo>
                  <a:pt x="340" y="437"/>
                  <a:pt x="356" y="431"/>
                  <a:pt x="351" y="417"/>
                </a:cubicBezTo>
                <a:cubicBezTo>
                  <a:pt x="343" y="415"/>
                  <a:pt x="340" y="422"/>
                  <a:pt x="334" y="421"/>
                </a:cubicBezTo>
                <a:cubicBezTo>
                  <a:pt x="328" y="420"/>
                  <a:pt x="326" y="411"/>
                  <a:pt x="321" y="414"/>
                </a:cubicBezTo>
                <a:cubicBezTo>
                  <a:pt x="314" y="412"/>
                  <a:pt x="306" y="419"/>
                  <a:pt x="305" y="426"/>
                </a:cubicBezTo>
                <a:cubicBezTo>
                  <a:pt x="310" y="429"/>
                  <a:pt x="310" y="432"/>
                  <a:pt x="304" y="434"/>
                </a:cubicBezTo>
                <a:cubicBezTo>
                  <a:pt x="306" y="433"/>
                  <a:pt x="314" y="450"/>
                  <a:pt x="312" y="454"/>
                </a:cubicBezTo>
                <a:cubicBezTo>
                  <a:pt x="305" y="466"/>
                  <a:pt x="298" y="453"/>
                  <a:pt x="297" y="445"/>
                </a:cubicBezTo>
                <a:cubicBezTo>
                  <a:pt x="280" y="465"/>
                  <a:pt x="309" y="486"/>
                  <a:pt x="317" y="504"/>
                </a:cubicBezTo>
                <a:cubicBezTo>
                  <a:pt x="321" y="515"/>
                  <a:pt x="324" y="525"/>
                  <a:pt x="333" y="516"/>
                </a:cubicBezTo>
                <a:close/>
                <a:moveTo>
                  <a:pt x="335" y="307"/>
                </a:moveTo>
                <a:cubicBezTo>
                  <a:pt x="332" y="306"/>
                  <a:pt x="329" y="301"/>
                  <a:pt x="325" y="301"/>
                </a:cubicBezTo>
                <a:cubicBezTo>
                  <a:pt x="325" y="303"/>
                  <a:pt x="325" y="303"/>
                  <a:pt x="325" y="303"/>
                </a:cubicBezTo>
                <a:cubicBezTo>
                  <a:pt x="319" y="312"/>
                  <a:pt x="330" y="319"/>
                  <a:pt x="329" y="329"/>
                </a:cubicBezTo>
                <a:cubicBezTo>
                  <a:pt x="320" y="330"/>
                  <a:pt x="318" y="315"/>
                  <a:pt x="313" y="310"/>
                </a:cubicBezTo>
                <a:cubicBezTo>
                  <a:pt x="313" y="316"/>
                  <a:pt x="313" y="322"/>
                  <a:pt x="311" y="328"/>
                </a:cubicBezTo>
                <a:cubicBezTo>
                  <a:pt x="309" y="332"/>
                  <a:pt x="301" y="338"/>
                  <a:pt x="301" y="342"/>
                </a:cubicBezTo>
                <a:cubicBezTo>
                  <a:pt x="300" y="357"/>
                  <a:pt x="322" y="335"/>
                  <a:pt x="327" y="343"/>
                </a:cubicBezTo>
                <a:cubicBezTo>
                  <a:pt x="330" y="349"/>
                  <a:pt x="307" y="375"/>
                  <a:pt x="334" y="372"/>
                </a:cubicBezTo>
                <a:cubicBezTo>
                  <a:pt x="349" y="371"/>
                  <a:pt x="349" y="352"/>
                  <a:pt x="351" y="340"/>
                </a:cubicBezTo>
                <a:cubicBezTo>
                  <a:pt x="353" y="333"/>
                  <a:pt x="356" y="318"/>
                  <a:pt x="352" y="312"/>
                </a:cubicBezTo>
                <a:cubicBezTo>
                  <a:pt x="349" y="306"/>
                  <a:pt x="347" y="307"/>
                  <a:pt x="343" y="306"/>
                </a:cubicBezTo>
                <a:cubicBezTo>
                  <a:pt x="342" y="305"/>
                  <a:pt x="337" y="307"/>
                  <a:pt x="335" y="307"/>
                </a:cubicBezTo>
                <a:close/>
                <a:moveTo>
                  <a:pt x="325" y="237"/>
                </a:moveTo>
                <a:cubicBezTo>
                  <a:pt x="334" y="245"/>
                  <a:pt x="335" y="259"/>
                  <a:pt x="337" y="243"/>
                </a:cubicBezTo>
                <a:cubicBezTo>
                  <a:pt x="338" y="233"/>
                  <a:pt x="338" y="215"/>
                  <a:pt x="334" y="205"/>
                </a:cubicBezTo>
                <a:cubicBezTo>
                  <a:pt x="329" y="195"/>
                  <a:pt x="318" y="187"/>
                  <a:pt x="307" y="188"/>
                </a:cubicBezTo>
                <a:cubicBezTo>
                  <a:pt x="302" y="186"/>
                  <a:pt x="302" y="186"/>
                  <a:pt x="302" y="186"/>
                </a:cubicBezTo>
                <a:cubicBezTo>
                  <a:pt x="303" y="186"/>
                  <a:pt x="303" y="185"/>
                  <a:pt x="301" y="185"/>
                </a:cubicBezTo>
                <a:cubicBezTo>
                  <a:pt x="295" y="194"/>
                  <a:pt x="291" y="212"/>
                  <a:pt x="298" y="222"/>
                </a:cubicBezTo>
                <a:cubicBezTo>
                  <a:pt x="304" y="231"/>
                  <a:pt x="317" y="230"/>
                  <a:pt x="325" y="237"/>
                </a:cubicBezTo>
                <a:close/>
                <a:moveTo>
                  <a:pt x="114" y="590"/>
                </a:moveTo>
                <a:cubicBezTo>
                  <a:pt x="113" y="593"/>
                  <a:pt x="114" y="595"/>
                  <a:pt x="116" y="598"/>
                </a:cubicBezTo>
                <a:cubicBezTo>
                  <a:pt x="134" y="600"/>
                  <a:pt x="152" y="609"/>
                  <a:pt x="170" y="603"/>
                </a:cubicBezTo>
                <a:cubicBezTo>
                  <a:pt x="179" y="599"/>
                  <a:pt x="185" y="599"/>
                  <a:pt x="194" y="597"/>
                </a:cubicBezTo>
                <a:cubicBezTo>
                  <a:pt x="202" y="596"/>
                  <a:pt x="206" y="585"/>
                  <a:pt x="214" y="586"/>
                </a:cubicBezTo>
                <a:cubicBezTo>
                  <a:pt x="221" y="586"/>
                  <a:pt x="232" y="599"/>
                  <a:pt x="240" y="603"/>
                </a:cubicBezTo>
                <a:cubicBezTo>
                  <a:pt x="240" y="603"/>
                  <a:pt x="239" y="605"/>
                  <a:pt x="239" y="605"/>
                </a:cubicBezTo>
                <a:cubicBezTo>
                  <a:pt x="251" y="613"/>
                  <a:pt x="263" y="607"/>
                  <a:pt x="274" y="613"/>
                </a:cubicBezTo>
                <a:cubicBezTo>
                  <a:pt x="277" y="606"/>
                  <a:pt x="277" y="599"/>
                  <a:pt x="280" y="593"/>
                </a:cubicBezTo>
                <a:cubicBezTo>
                  <a:pt x="271" y="594"/>
                  <a:pt x="265" y="588"/>
                  <a:pt x="268" y="580"/>
                </a:cubicBezTo>
                <a:cubicBezTo>
                  <a:pt x="276" y="581"/>
                  <a:pt x="296" y="585"/>
                  <a:pt x="300" y="576"/>
                </a:cubicBezTo>
                <a:cubicBezTo>
                  <a:pt x="307" y="561"/>
                  <a:pt x="281" y="552"/>
                  <a:pt x="274" y="543"/>
                </a:cubicBezTo>
                <a:cubicBezTo>
                  <a:pt x="262" y="529"/>
                  <a:pt x="264" y="521"/>
                  <a:pt x="262" y="505"/>
                </a:cubicBezTo>
                <a:cubicBezTo>
                  <a:pt x="260" y="494"/>
                  <a:pt x="255" y="486"/>
                  <a:pt x="254" y="475"/>
                </a:cubicBezTo>
                <a:cubicBezTo>
                  <a:pt x="254" y="466"/>
                  <a:pt x="256" y="457"/>
                  <a:pt x="255" y="448"/>
                </a:cubicBezTo>
                <a:cubicBezTo>
                  <a:pt x="245" y="438"/>
                  <a:pt x="228" y="410"/>
                  <a:pt x="224" y="440"/>
                </a:cubicBezTo>
                <a:cubicBezTo>
                  <a:pt x="223" y="446"/>
                  <a:pt x="226" y="495"/>
                  <a:pt x="213" y="491"/>
                </a:cubicBezTo>
                <a:cubicBezTo>
                  <a:pt x="201" y="487"/>
                  <a:pt x="217" y="443"/>
                  <a:pt x="207" y="439"/>
                </a:cubicBezTo>
                <a:cubicBezTo>
                  <a:pt x="204" y="438"/>
                  <a:pt x="201" y="439"/>
                  <a:pt x="197" y="441"/>
                </a:cubicBezTo>
                <a:cubicBezTo>
                  <a:pt x="182" y="502"/>
                  <a:pt x="171" y="546"/>
                  <a:pt x="171" y="546"/>
                </a:cubicBezTo>
                <a:cubicBezTo>
                  <a:pt x="171" y="546"/>
                  <a:pt x="112" y="538"/>
                  <a:pt x="80" y="525"/>
                </a:cubicBezTo>
                <a:cubicBezTo>
                  <a:pt x="77" y="534"/>
                  <a:pt x="84" y="550"/>
                  <a:pt x="88" y="561"/>
                </a:cubicBezTo>
                <a:cubicBezTo>
                  <a:pt x="104" y="558"/>
                  <a:pt x="116" y="577"/>
                  <a:pt x="114" y="590"/>
                </a:cubicBezTo>
                <a:close/>
                <a:moveTo>
                  <a:pt x="237" y="358"/>
                </a:moveTo>
                <a:cubicBezTo>
                  <a:pt x="248" y="359"/>
                  <a:pt x="258" y="359"/>
                  <a:pt x="266" y="352"/>
                </a:cubicBezTo>
                <a:cubicBezTo>
                  <a:pt x="272" y="346"/>
                  <a:pt x="282" y="330"/>
                  <a:pt x="276" y="322"/>
                </a:cubicBezTo>
                <a:cubicBezTo>
                  <a:pt x="271" y="314"/>
                  <a:pt x="257" y="317"/>
                  <a:pt x="250" y="310"/>
                </a:cubicBezTo>
                <a:cubicBezTo>
                  <a:pt x="249" y="310"/>
                  <a:pt x="248" y="310"/>
                  <a:pt x="247" y="310"/>
                </a:cubicBezTo>
                <a:cubicBezTo>
                  <a:pt x="246" y="304"/>
                  <a:pt x="250" y="287"/>
                  <a:pt x="246" y="283"/>
                </a:cubicBezTo>
                <a:cubicBezTo>
                  <a:pt x="230" y="268"/>
                  <a:pt x="235" y="329"/>
                  <a:pt x="235" y="329"/>
                </a:cubicBezTo>
                <a:cubicBezTo>
                  <a:pt x="232" y="331"/>
                  <a:pt x="228" y="331"/>
                  <a:pt x="225" y="329"/>
                </a:cubicBezTo>
                <a:cubicBezTo>
                  <a:pt x="222" y="338"/>
                  <a:pt x="220" y="348"/>
                  <a:pt x="218" y="357"/>
                </a:cubicBezTo>
                <a:cubicBezTo>
                  <a:pt x="224" y="356"/>
                  <a:pt x="229" y="357"/>
                  <a:pt x="237" y="358"/>
                </a:cubicBezTo>
                <a:close/>
                <a:moveTo>
                  <a:pt x="245" y="416"/>
                </a:moveTo>
                <a:cubicBezTo>
                  <a:pt x="240" y="423"/>
                  <a:pt x="252" y="435"/>
                  <a:pt x="256" y="441"/>
                </a:cubicBezTo>
                <a:cubicBezTo>
                  <a:pt x="257" y="444"/>
                  <a:pt x="267" y="426"/>
                  <a:pt x="266" y="422"/>
                </a:cubicBezTo>
                <a:cubicBezTo>
                  <a:pt x="264" y="414"/>
                  <a:pt x="251" y="408"/>
                  <a:pt x="245" y="416"/>
                </a:cubicBezTo>
                <a:close/>
                <a:moveTo>
                  <a:pt x="176" y="628"/>
                </a:moveTo>
                <a:cubicBezTo>
                  <a:pt x="181" y="631"/>
                  <a:pt x="189" y="623"/>
                  <a:pt x="193" y="622"/>
                </a:cubicBezTo>
                <a:cubicBezTo>
                  <a:pt x="198" y="620"/>
                  <a:pt x="203" y="621"/>
                  <a:pt x="209" y="622"/>
                </a:cubicBezTo>
                <a:cubicBezTo>
                  <a:pt x="211" y="613"/>
                  <a:pt x="221" y="617"/>
                  <a:pt x="224" y="609"/>
                </a:cubicBezTo>
                <a:cubicBezTo>
                  <a:pt x="221" y="605"/>
                  <a:pt x="215" y="604"/>
                  <a:pt x="211" y="606"/>
                </a:cubicBezTo>
                <a:cubicBezTo>
                  <a:pt x="217" y="606"/>
                  <a:pt x="217" y="606"/>
                  <a:pt x="217" y="606"/>
                </a:cubicBezTo>
                <a:cubicBezTo>
                  <a:pt x="214" y="606"/>
                  <a:pt x="156" y="615"/>
                  <a:pt x="176" y="628"/>
                </a:cubicBezTo>
                <a:close/>
              </a:path>
            </a:pathLst>
          </a:custGeom>
          <a:solidFill>
            <a:schemeClr val="accent3"/>
          </a:solidFill>
          <a:ln w="6350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62" name="Group 3">
            <a:extLst>
              <a:ext uri="{FF2B5EF4-FFF2-40B4-BE49-F238E27FC236}">
                <a16:creationId xmlns:a16="http://schemas.microsoft.com/office/drawing/2014/main" id="{C5DFC58E-0800-4F67-87C0-BD28AA12CB85}"/>
              </a:ext>
            </a:extLst>
          </p:cNvPr>
          <p:cNvGrpSpPr/>
          <p:nvPr/>
        </p:nvGrpSpPr>
        <p:grpSpPr>
          <a:xfrm>
            <a:off x="8878380" y="1650542"/>
            <a:ext cx="2364141" cy="2794653"/>
            <a:chOff x="2880155" y="2271337"/>
            <a:chExt cx="3131573" cy="3701836"/>
          </a:xfrm>
        </p:grpSpPr>
        <p:sp>
          <p:nvSpPr>
            <p:cNvPr id="63" name="Freeform 4">
              <a:extLst>
                <a:ext uri="{FF2B5EF4-FFF2-40B4-BE49-F238E27FC236}">
                  <a16:creationId xmlns:a16="http://schemas.microsoft.com/office/drawing/2014/main" id="{6D376052-5BBC-4CBC-B087-3CA7478427AC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5141711" y="2784330"/>
              <a:ext cx="59707" cy="41429"/>
            </a:xfrm>
            <a:custGeom>
              <a:avLst/>
              <a:gdLst/>
              <a:ahLst/>
              <a:cxnLst>
                <a:cxn ang="0">
                  <a:pos x="14" y="17"/>
                </a:cxn>
                <a:cxn ang="0">
                  <a:pos x="0" y="48"/>
                </a:cxn>
                <a:cxn ang="0">
                  <a:pos x="14" y="68"/>
                </a:cxn>
                <a:cxn ang="0">
                  <a:pos x="66" y="86"/>
                </a:cxn>
                <a:cxn ang="0">
                  <a:pos x="35" y="120"/>
                </a:cxn>
                <a:cxn ang="0">
                  <a:pos x="86" y="128"/>
                </a:cxn>
                <a:cxn ang="0">
                  <a:pos x="55" y="145"/>
                </a:cxn>
                <a:cxn ang="0">
                  <a:pos x="66" y="158"/>
                </a:cxn>
                <a:cxn ang="0">
                  <a:pos x="121" y="120"/>
                </a:cxn>
                <a:cxn ang="0">
                  <a:pos x="131" y="134"/>
                </a:cxn>
                <a:cxn ang="0">
                  <a:pos x="148" y="134"/>
                </a:cxn>
                <a:cxn ang="0">
                  <a:pos x="127" y="169"/>
                </a:cxn>
                <a:cxn ang="0">
                  <a:pos x="159" y="169"/>
                </a:cxn>
                <a:cxn ang="0">
                  <a:pos x="186" y="148"/>
                </a:cxn>
                <a:cxn ang="0">
                  <a:pos x="234" y="82"/>
                </a:cxn>
                <a:cxn ang="0">
                  <a:pos x="231" y="41"/>
                </a:cxn>
                <a:cxn ang="0">
                  <a:pos x="217" y="24"/>
                </a:cxn>
                <a:cxn ang="0">
                  <a:pos x="170" y="30"/>
                </a:cxn>
                <a:cxn ang="0">
                  <a:pos x="93" y="0"/>
                </a:cxn>
                <a:cxn ang="0">
                  <a:pos x="14" y="17"/>
                </a:cxn>
              </a:cxnLst>
              <a:rect l="0" t="0" r="r" b="b"/>
              <a:pathLst>
                <a:path w="234" h="169">
                  <a:moveTo>
                    <a:pt x="14" y="17"/>
                  </a:moveTo>
                  <a:lnTo>
                    <a:pt x="0" y="48"/>
                  </a:lnTo>
                  <a:lnTo>
                    <a:pt x="14" y="68"/>
                  </a:lnTo>
                  <a:lnTo>
                    <a:pt x="66" y="86"/>
                  </a:lnTo>
                  <a:lnTo>
                    <a:pt x="35" y="120"/>
                  </a:lnTo>
                  <a:lnTo>
                    <a:pt x="86" y="128"/>
                  </a:lnTo>
                  <a:lnTo>
                    <a:pt x="55" y="145"/>
                  </a:lnTo>
                  <a:lnTo>
                    <a:pt x="66" y="158"/>
                  </a:lnTo>
                  <a:lnTo>
                    <a:pt x="121" y="120"/>
                  </a:lnTo>
                  <a:lnTo>
                    <a:pt x="131" y="134"/>
                  </a:lnTo>
                  <a:lnTo>
                    <a:pt x="148" y="134"/>
                  </a:lnTo>
                  <a:lnTo>
                    <a:pt x="127" y="169"/>
                  </a:lnTo>
                  <a:lnTo>
                    <a:pt x="159" y="169"/>
                  </a:lnTo>
                  <a:lnTo>
                    <a:pt x="186" y="148"/>
                  </a:lnTo>
                  <a:lnTo>
                    <a:pt x="234" y="82"/>
                  </a:lnTo>
                  <a:lnTo>
                    <a:pt x="231" y="41"/>
                  </a:lnTo>
                  <a:lnTo>
                    <a:pt x="217" y="24"/>
                  </a:lnTo>
                  <a:lnTo>
                    <a:pt x="170" y="30"/>
                  </a:lnTo>
                  <a:lnTo>
                    <a:pt x="93" y="0"/>
                  </a:lnTo>
                  <a:lnTo>
                    <a:pt x="14" y="17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4" name="Freeform 5">
              <a:extLst>
                <a:ext uri="{FF2B5EF4-FFF2-40B4-BE49-F238E27FC236}">
                  <a16:creationId xmlns:a16="http://schemas.microsoft.com/office/drawing/2014/main" id="{EA7C4F71-FC5F-4F8B-8BFF-62FC1ED0AF93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5141711" y="2784330"/>
              <a:ext cx="59707" cy="41429"/>
            </a:xfrm>
            <a:custGeom>
              <a:avLst/>
              <a:gdLst/>
              <a:ahLst/>
              <a:cxnLst>
                <a:cxn ang="0">
                  <a:pos x="14" y="17"/>
                </a:cxn>
                <a:cxn ang="0">
                  <a:pos x="0" y="48"/>
                </a:cxn>
                <a:cxn ang="0">
                  <a:pos x="14" y="68"/>
                </a:cxn>
                <a:cxn ang="0">
                  <a:pos x="66" y="86"/>
                </a:cxn>
                <a:cxn ang="0">
                  <a:pos x="35" y="120"/>
                </a:cxn>
                <a:cxn ang="0">
                  <a:pos x="86" y="128"/>
                </a:cxn>
                <a:cxn ang="0">
                  <a:pos x="55" y="145"/>
                </a:cxn>
                <a:cxn ang="0">
                  <a:pos x="66" y="158"/>
                </a:cxn>
                <a:cxn ang="0">
                  <a:pos x="121" y="120"/>
                </a:cxn>
                <a:cxn ang="0">
                  <a:pos x="131" y="134"/>
                </a:cxn>
                <a:cxn ang="0">
                  <a:pos x="148" y="134"/>
                </a:cxn>
                <a:cxn ang="0">
                  <a:pos x="127" y="169"/>
                </a:cxn>
                <a:cxn ang="0">
                  <a:pos x="159" y="169"/>
                </a:cxn>
                <a:cxn ang="0">
                  <a:pos x="186" y="148"/>
                </a:cxn>
                <a:cxn ang="0">
                  <a:pos x="234" y="82"/>
                </a:cxn>
                <a:cxn ang="0">
                  <a:pos x="231" y="41"/>
                </a:cxn>
                <a:cxn ang="0">
                  <a:pos x="217" y="24"/>
                </a:cxn>
                <a:cxn ang="0">
                  <a:pos x="170" y="30"/>
                </a:cxn>
                <a:cxn ang="0">
                  <a:pos x="93" y="0"/>
                </a:cxn>
                <a:cxn ang="0">
                  <a:pos x="14" y="17"/>
                </a:cxn>
              </a:cxnLst>
              <a:rect l="0" t="0" r="r" b="b"/>
              <a:pathLst>
                <a:path w="234" h="169">
                  <a:moveTo>
                    <a:pt x="14" y="17"/>
                  </a:moveTo>
                  <a:lnTo>
                    <a:pt x="0" y="48"/>
                  </a:lnTo>
                  <a:lnTo>
                    <a:pt x="14" y="68"/>
                  </a:lnTo>
                  <a:lnTo>
                    <a:pt x="66" y="86"/>
                  </a:lnTo>
                  <a:lnTo>
                    <a:pt x="35" y="120"/>
                  </a:lnTo>
                  <a:lnTo>
                    <a:pt x="86" y="128"/>
                  </a:lnTo>
                  <a:lnTo>
                    <a:pt x="55" y="145"/>
                  </a:lnTo>
                  <a:lnTo>
                    <a:pt x="66" y="158"/>
                  </a:lnTo>
                  <a:lnTo>
                    <a:pt x="121" y="120"/>
                  </a:lnTo>
                  <a:lnTo>
                    <a:pt x="131" y="134"/>
                  </a:lnTo>
                  <a:lnTo>
                    <a:pt x="148" y="134"/>
                  </a:lnTo>
                  <a:lnTo>
                    <a:pt x="127" y="169"/>
                  </a:lnTo>
                  <a:lnTo>
                    <a:pt x="159" y="169"/>
                  </a:lnTo>
                  <a:lnTo>
                    <a:pt x="186" y="148"/>
                  </a:lnTo>
                  <a:lnTo>
                    <a:pt x="234" y="82"/>
                  </a:lnTo>
                  <a:lnTo>
                    <a:pt x="231" y="41"/>
                  </a:lnTo>
                  <a:lnTo>
                    <a:pt x="217" y="24"/>
                  </a:lnTo>
                  <a:lnTo>
                    <a:pt x="170" y="30"/>
                  </a:lnTo>
                  <a:lnTo>
                    <a:pt x="93" y="0"/>
                  </a:lnTo>
                  <a:lnTo>
                    <a:pt x="14" y="17"/>
                  </a:lnTo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5" name="Freeform 9">
              <a:extLst>
                <a:ext uri="{FF2B5EF4-FFF2-40B4-BE49-F238E27FC236}">
                  <a16:creationId xmlns:a16="http://schemas.microsoft.com/office/drawing/2014/main" id="{160F7668-184B-40A3-B8D7-C463EC717E94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244491" y="2394407"/>
              <a:ext cx="19496" cy="14622"/>
            </a:xfrm>
            <a:custGeom>
              <a:avLst/>
              <a:gdLst/>
              <a:ahLst/>
              <a:cxnLst>
                <a:cxn ang="0">
                  <a:pos x="55" y="10"/>
                </a:cxn>
                <a:cxn ang="0">
                  <a:pos x="64" y="14"/>
                </a:cxn>
                <a:cxn ang="0">
                  <a:pos x="72" y="47"/>
                </a:cxn>
                <a:cxn ang="0">
                  <a:pos x="69" y="58"/>
                </a:cxn>
                <a:cxn ang="0">
                  <a:pos x="30" y="61"/>
                </a:cxn>
                <a:cxn ang="0">
                  <a:pos x="20" y="27"/>
                </a:cxn>
                <a:cxn ang="0">
                  <a:pos x="0" y="17"/>
                </a:cxn>
                <a:cxn ang="0">
                  <a:pos x="30" y="0"/>
                </a:cxn>
                <a:cxn ang="0">
                  <a:pos x="55" y="10"/>
                </a:cxn>
              </a:cxnLst>
              <a:rect l="0" t="0" r="r" b="b"/>
              <a:pathLst>
                <a:path w="72" h="61">
                  <a:moveTo>
                    <a:pt x="55" y="10"/>
                  </a:moveTo>
                  <a:lnTo>
                    <a:pt x="64" y="14"/>
                  </a:lnTo>
                  <a:lnTo>
                    <a:pt x="72" y="47"/>
                  </a:lnTo>
                  <a:lnTo>
                    <a:pt x="69" y="58"/>
                  </a:lnTo>
                  <a:lnTo>
                    <a:pt x="30" y="61"/>
                  </a:lnTo>
                  <a:lnTo>
                    <a:pt x="20" y="27"/>
                  </a:lnTo>
                  <a:lnTo>
                    <a:pt x="0" y="17"/>
                  </a:lnTo>
                  <a:lnTo>
                    <a:pt x="30" y="0"/>
                  </a:lnTo>
                  <a:lnTo>
                    <a:pt x="55" y="10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6" name="Freeform 11">
              <a:extLst>
                <a:ext uri="{FF2B5EF4-FFF2-40B4-BE49-F238E27FC236}">
                  <a16:creationId xmlns:a16="http://schemas.microsoft.com/office/drawing/2014/main" id="{F0260462-1F4A-47C3-A056-27EAFC080CC0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2880155" y="2271337"/>
              <a:ext cx="905354" cy="1091786"/>
            </a:xfrm>
            <a:custGeom>
              <a:avLst/>
              <a:gdLst/>
              <a:ahLst/>
              <a:cxnLst>
                <a:cxn ang="0">
                  <a:pos x="2329" y="4440"/>
                </a:cxn>
                <a:cxn ang="0">
                  <a:pos x="2391" y="4226"/>
                </a:cxn>
                <a:cxn ang="0">
                  <a:pos x="2309" y="4160"/>
                </a:cxn>
                <a:cxn ang="0">
                  <a:pos x="2343" y="3838"/>
                </a:cxn>
                <a:cxn ang="0">
                  <a:pos x="2379" y="3657"/>
                </a:cxn>
                <a:cxn ang="0">
                  <a:pos x="2272" y="3524"/>
                </a:cxn>
                <a:cxn ang="0">
                  <a:pos x="2167" y="3178"/>
                </a:cxn>
                <a:cxn ang="0">
                  <a:pos x="2078" y="2908"/>
                </a:cxn>
                <a:cxn ang="0">
                  <a:pos x="1889" y="2402"/>
                </a:cxn>
                <a:cxn ang="0">
                  <a:pos x="1736" y="2246"/>
                </a:cxn>
                <a:cxn ang="0">
                  <a:pos x="1389" y="2156"/>
                </a:cxn>
                <a:cxn ang="0">
                  <a:pos x="1516" y="1997"/>
                </a:cxn>
                <a:cxn ang="0">
                  <a:pos x="1736" y="1929"/>
                </a:cxn>
                <a:cxn ang="0">
                  <a:pos x="1344" y="1908"/>
                </a:cxn>
                <a:cxn ang="0">
                  <a:pos x="1105" y="1977"/>
                </a:cxn>
                <a:cxn ang="0">
                  <a:pos x="698" y="1870"/>
                </a:cxn>
                <a:cxn ang="0">
                  <a:pos x="258" y="1612"/>
                </a:cxn>
                <a:cxn ang="0">
                  <a:pos x="0" y="1372"/>
                </a:cxn>
                <a:cxn ang="0">
                  <a:pos x="279" y="1473"/>
                </a:cxn>
                <a:cxn ang="0">
                  <a:pos x="661" y="1668"/>
                </a:cxn>
                <a:cxn ang="0">
                  <a:pos x="931" y="1548"/>
                </a:cxn>
                <a:cxn ang="0">
                  <a:pos x="850" y="1217"/>
                </a:cxn>
                <a:cxn ang="0">
                  <a:pos x="1024" y="990"/>
                </a:cxn>
                <a:cxn ang="0">
                  <a:pos x="1064" y="762"/>
                </a:cxn>
                <a:cxn ang="0">
                  <a:pos x="1099" y="617"/>
                </a:cxn>
                <a:cxn ang="0">
                  <a:pos x="1457" y="593"/>
                </a:cxn>
                <a:cxn ang="0">
                  <a:pos x="1645" y="691"/>
                </a:cxn>
                <a:cxn ang="0">
                  <a:pos x="1874" y="686"/>
                </a:cxn>
                <a:cxn ang="0">
                  <a:pos x="1889" y="618"/>
                </a:cxn>
                <a:cxn ang="0">
                  <a:pos x="1775" y="238"/>
                </a:cxn>
                <a:cxn ang="0">
                  <a:pos x="1921" y="51"/>
                </a:cxn>
                <a:cxn ang="0">
                  <a:pos x="2183" y="320"/>
                </a:cxn>
                <a:cxn ang="0">
                  <a:pos x="2211" y="576"/>
                </a:cxn>
                <a:cxn ang="0">
                  <a:pos x="2314" y="655"/>
                </a:cxn>
                <a:cxn ang="0">
                  <a:pos x="2301" y="307"/>
                </a:cxn>
                <a:cxn ang="0">
                  <a:pos x="2582" y="0"/>
                </a:cxn>
                <a:cxn ang="0">
                  <a:pos x="2855" y="162"/>
                </a:cxn>
                <a:cxn ang="0">
                  <a:pos x="3153" y="414"/>
                </a:cxn>
                <a:cxn ang="0">
                  <a:pos x="3299" y="720"/>
                </a:cxn>
                <a:cxn ang="0">
                  <a:pos x="3413" y="1155"/>
                </a:cxn>
                <a:cxn ang="0">
                  <a:pos x="3552" y="1517"/>
                </a:cxn>
                <a:cxn ang="0">
                  <a:pos x="2185" y="2824"/>
                </a:cxn>
                <a:cxn ang="0">
                  <a:pos x="2230" y="2940"/>
                </a:cxn>
                <a:cxn ang="0">
                  <a:pos x="2251" y="3065"/>
                </a:cxn>
                <a:cxn ang="0">
                  <a:pos x="2222" y="3291"/>
                </a:cxn>
                <a:cxn ang="0">
                  <a:pos x="2352" y="3319"/>
                </a:cxn>
                <a:cxn ang="0">
                  <a:pos x="2484" y="3334"/>
                </a:cxn>
                <a:cxn ang="0">
                  <a:pos x="2448" y="3544"/>
                </a:cxn>
                <a:cxn ang="0">
                  <a:pos x="2445" y="3722"/>
                </a:cxn>
                <a:cxn ang="0">
                  <a:pos x="2412" y="3936"/>
                </a:cxn>
                <a:cxn ang="0">
                  <a:pos x="2385" y="4131"/>
                </a:cxn>
                <a:cxn ang="0">
                  <a:pos x="2443" y="4363"/>
                </a:cxn>
                <a:cxn ang="0">
                  <a:pos x="2364" y="4481"/>
                </a:cxn>
              </a:cxnLst>
              <a:rect l="0" t="0" r="r" b="b"/>
              <a:pathLst>
                <a:path w="3552" h="4482">
                  <a:moveTo>
                    <a:pt x="2364" y="4481"/>
                  </a:moveTo>
                  <a:lnTo>
                    <a:pt x="2257" y="4471"/>
                  </a:lnTo>
                  <a:lnTo>
                    <a:pt x="2280" y="4429"/>
                  </a:lnTo>
                  <a:lnTo>
                    <a:pt x="2329" y="4440"/>
                  </a:lnTo>
                  <a:lnTo>
                    <a:pt x="2346" y="4399"/>
                  </a:lnTo>
                  <a:lnTo>
                    <a:pt x="2327" y="4381"/>
                  </a:lnTo>
                  <a:lnTo>
                    <a:pt x="2391" y="4240"/>
                  </a:lnTo>
                  <a:lnTo>
                    <a:pt x="2391" y="4226"/>
                  </a:lnTo>
                  <a:lnTo>
                    <a:pt x="2329" y="4223"/>
                  </a:lnTo>
                  <a:lnTo>
                    <a:pt x="2236" y="4264"/>
                  </a:lnTo>
                  <a:lnTo>
                    <a:pt x="2243" y="4217"/>
                  </a:lnTo>
                  <a:lnTo>
                    <a:pt x="2309" y="4160"/>
                  </a:lnTo>
                  <a:lnTo>
                    <a:pt x="2353" y="4051"/>
                  </a:lnTo>
                  <a:lnTo>
                    <a:pt x="2332" y="3934"/>
                  </a:lnTo>
                  <a:lnTo>
                    <a:pt x="2315" y="3885"/>
                  </a:lnTo>
                  <a:lnTo>
                    <a:pt x="2343" y="3838"/>
                  </a:lnTo>
                  <a:lnTo>
                    <a:pt x="2353" y="3823"/>
                  </a:lnTo>
                  <a:lnTo>
                    <a:pt x="2364" y="3789"/>
                  </a:lnTo>
                  <a:lnTo>
                    <a:pt x="2378" y="3713"/>
                  </a:lnTo>
                  <a:lnTo>
                    <a:pt x="2379" y="3657"/>
                  </a:lnTo>
                  <a:lnTo>
                    <a:pt x="2351" y="3612"/>
                  </a:lnTo>
                  <a:lnTo>
                    <a:pt x="2378" y="3521"/>
                  </a:lnTo>
                  <a:lnTo>
                    <a:pt x="2311" y="3577"/>
                  </a:lnTo>
                  <a:lnTo>
                    <a:pt x="2272" y="3524"/>
                  </a:lnTo>
                  <a:lnTo>
                    <a:pt x="2195" y="3478"/>
                  </a:lnTo>
                  <a:lnTo>
                    <a:pt x="2170" y="3400"/>
                  </a:lnTo>
                  <a:lnTo>
                    <a:pt x="2165" y="3299"/>
                  </a:lnTo>
                  <a:lnTo>
                    <a:pt x="2167" y="3178"/>
                  </a:lnTo>
                  <a:lnTo>
                    <a:pt x="2141" y="3078"/>
                  </a:lnTo>
                  <a:lnTo>
                    <a:pt x="2200" y="2989"/>
                  </a:lnTo>
                  <a:lnTo>
                    <a:pt x="2124" y="2983"/>
                  </a:lnTo>
                  <a:lnTo>
                    <a:pt x="2078" y="2908"/>
                  </a:lnTo>
                  <a:lnTo>
                    <a:pt x="2054" y="2801"/>
                  </a:lnTo>
                  <a:lnTo>
                    <a:pt x="1923" y="2644"/>
                  </a:lnTo>
                  <a:lnTo>
                    <a:pt x="1898" y="2529"/>
                  </a:lnTo>
                  <a:lnTo>
                    <a:pt x="1889" y="2402"/>
                  </a:lnTo>
                  <a:lnTo>
                    <a:pt x="1889" y="2315"/>
                  </a:lnTo>
                  <a:lnTo>
                    <a:pt x="1841" y="2247"/>
                  </a:lnTo>
                  <a:lnTo>
                    <a:pt x="1820" y="2156"/>
                  </a:lnTo>
                  <a:lnTo>
                    <a:pt x="1736" y="2246"/>
                  </a:lnTo>
                  <a:lnTo>
                    <a:pt x="1626" y="2269"/>
                  </a:lnTo>
                  <a:lnTo>
                    <a:pt x="1578" y="2197"/>
                  </a:lnTo>
                  <a:lnTo>
                    <a:pt x="1486" y="2181"/>
                  </a:lnTo>
                  <a:lnTo>
                    <a:pt x="1389" y="2156"/>
                  </a:lnTo>
                  <a:lnTo>
                    <a:pt x="1320" y="2076"/>
                  </a:lnTo>
                  <a:lnTo>
                    <a:pt x="1403" y="2080"/>
                  </a:lnTo>
                  <a:lnTo>
                    <a:pt x="1404" y="2013"/>
                  </a:lnTo>
                  <a:lnTo>
                    <a:pt x="1516" y="1997"/>
                  </a:lnTo>
                  <a:lnTo>
                    <a:pt x="1618" y="1932"/>
                  </a:lnTo>
                  <a:lnTo>
                    <a:pt x="1694" y="1992"/>
                  </a:lnTo>
                  <a:lnTo>
                    <a:pt x="1775" y="1992"/>
                  </a:lnTo>
                  <a:lnTo>
                    <a:pt x="1736" y="1929"/>
                  </a:lnTo>
                  <a:lnTo>
                    <a:pt x="1629" y="1884"/>
                  </a:lnTo>
                  <a:lnTo>
                    <a:pt x="1543" y="1873"/>
                  </a:lnTo>
                  <a:lnTo>
                    <a:pt x="1445" y="1911"/>
                  </a:lnTo>
                  <a:lnTo>
                    <a:pt x="1344" y="1908"/>
                  </a:lnTo>
                  <a:lnTo>
                    <a:pt x="1263" y="1868"/>
                  </a:lnTo>
                  <a:lnTo>
                    <a:pt x="1193" y="1884"/>
                  </a:lnTo>
                  <a:lnTo>
                    <a:pt x="1202" y="1975"/>
                  </a:lnTo>
                  <a:lnTo>
                    <a:pt x="1105" y="1977"/>
                  </a:lnTo>
                  <a:lnTo>
                    <a:pt x="1021" y="1968"/>
                  </a:lnTo>
                  <a:lnTo>
                    <a:pt x="916" y="1917"/>
                  </a:lnTo>
                  <a:lnTo>
                    <a:pt x="796" y="1873"/>
                  </a:lnTo>
                  <a:lnTo>
                    <a:pt x="698" y="1870"/>
                  </a:lnTo>
                  <a:lnTo>
                    <a:pt x="507" y="1751"/>
                  </a:lnTo>
                  <a:lnTo>
                    <a:pt x="416" y="1762"/>
                  </a:lnTo>
                  <a:lnTo>
                    <a:pt x="347" y="1687"/>
                  </a:lnTo>
                  <a:lnTo>
                    <a:pt x="258" y="1612"/>
                  </a:lnTo>
                  <a:lnTo>
                    <a:pt x="187" y="1525"/>
                  </a:lnTo>
                  <a:lnTo>
                    <a:pt x="115" y="1484"/>
                  </a:lnTo>
                  <a:lnTo>
                    <a:pt x="48" y="1404"/>
                  </a:lnTo>
                  <a:lnTo>
                    <a:pt x="0" y="1372"/>
                  </a:lnTo>
                  <a:lnTo>
                    <a:pt x="48" y="1322"/>
                  </a:lnTo>
                  <a:lnTo>
                    <a:pt x="92" y="1369"/>
                  </a:lnTo>
                  <a:lnTo>
                    <a:pt x="194" y="1395"/>
                  </a:lnTo>
                  <a:lnTo>
                    <a:pt x="279" y="1473"/>
                  </a:lnTo>
                  <a:lnTo>
                    <a:pt x="335" y="1567"/>
                  </a:lnTo>
                  <a:lnTo>
                    <a:pt x="453" y="1579"/>
                  </a:lnTo>
                  <a:lnTo>
                    <a:pt x="554" y="1642"/>
                  </a:lnTo>
                  <a:lnTo>
                    <a:pt x="661" y="1668"/>
                  </a:lnTo>
                  <a:lnTo>
                    <a:pt x="753" y="1700"/>
                  </a:lnTo>
                  <a:lnTo>
                    <a:pt x="864" y="1653"/>
                  </a:lnTo>
                  <a:lnTo>
                    <a:pt x="972" y="1598"/>
                  </a:lnTo>
                  <a:lnTo>
                    <a:pt x="931" y="1548"/>
                  </a:lnTo>
                  <a:lnTo>
                    <a:pt x="917" y="1472"/>
                  </a:lnTo>
                  <a:lnTo>
                    <a:pt x="846" y="1482"/>
                  </a:lnTo>
                  <a:lnTo>
                    <a:pt x="909" y="1362"/>
                  </a:lnTo>
                  <a:lnTo>
                    <a:pt x="850" y="1217"/>
                  </a:lnTo>
                  <a:lnTo>
                    <a:pt x="797" y="1173"/>
                  </a:lnTo>
                  <a:lnTo>
                    <a:pt x="862" y="1099"/>
                  </a:lnTo>
                  <a:lnTo>
                    <a:pt x="933" y="1093"/>
                  </a:lnTo>
                  <a:lnTo>
                    <a:pt x="1024" y="990"/>
                  </a:lnTo>
                  <a:lnTo>
                    <a:pt x="917" y="942"/>
                  </a:lnTo>
                  <a:lnTo>
                    <a:pt x="889" y="857"/>
                  </a:lnTo>
                  <a:lnTo>
                    <a:pt x="979" y="748"/>
                  </a:lnTo>
                  <a:lnTo>
                    <a:pt x="1064" y="762"/>
                  </a:lnTo>
                  <a:lnTo>
                    <a:pt x="1103" y="793"/>
                  </a:lnTo>
                  <a:lnTo>
                    <a:pt x="1116" y="779"/>
                  </a:lnTo>
                  <a:lnTo>
                    <a:pt x="1092" y="675"/>
                  </a:lnTo>
                  <a:lnTo>
                    <a:pt x="1099" y="617"/>
                  </a:lnTo>
                  <a:lnTo>
                    <a:pt x="1174" y="492"/>
                  </a:lnTo>
                  <a:lnTo>
                    <a:pt x="1316" y="491"/>
                  </a:lnTo>
                  <a:lnTo>
                    <a:pt x="1399" y="510"/>
                  </a:lnTo>
                  <a:lnTo>
                    <a:pt x="1457" y="593"/>
                  </a:lnTo>
                  <a:lnTo>
                    <a:pt x="1492" y="579"/>
                  </a:lnTo>
                  <a:lnTo>
                    <a:pt x="1547" y="623"/>
                  </a:lnTo>
                  <a:lnTo>
                    <a:pt x="1553" y="669"/>
                  </a:lnTo>
                  <a:lnTo>
                    <a:pt x="1645" y="691"/>
                  </a:lnTo>
                  <a:lnTo>
                    <a:pt x="1700" y="795"/>
                  </a:lnTo>
                  <a:lnTo>
                    <a:pt x="1801" y="774"/>
                  </a:lnTo>
                  <a:lnTo>
                    <a:pt x="1862" y="695"/>
                  </a:lnTo>
                  <a:lnTo>
                    <a:pt x="1874" y="686"/>
                  </a:lnTo>
                  <a:lnTo>
                    <a:pt x="1906" y="736"/>
                  </a:lnTo>
                  <a:lnTo>
                    <a:pt x="1942" y="729"/>
                  </a:lnTo>
                  <a:lnTo>
                    <a:pt x="1948" y="681"/>
                  </a:lnTo>
                  <a:lnTo>
                    <a:pt x="1889" y="618"/>
                  </a:lnTo>
                  <a:lnTo>
                    <a:pt x="1821" y="574"/>
                  </a:lnTo>
                  <a:lnTo>
                    <a:pt x="1825" y="475"/>
                  </a:lnTo>
                  <a:lnTo>
                    <a:pt x="1776" y="373"/>
                  </a:lnTo>
                  <a:lnTo>
                    <a:pt x="1775" y="238"/>
                  </a:lnTo>
                  <a:lnTo>
                    <a:pt x="1832" y="187"/>
                  </a:lnTo>
                  <a:lnTo>
                    <a:pt x="1903" y="195"/>
                  </a:lnTo>
                  <a:lnTo>
                    <a:pt x="1900" y="112"/>
                  </a:lnTo>
                  <a:lnTo>
                    <a:pt x="1921" y="51"/>
                  </a:lnTo>
                  <a:lnTo>
                    <a:pt x="2021" y="109"/>
                  </a:lnTo>
                  <a:lnTo>
                    <a:pt x="2091" y="183"/>
                  </a:lnTo>
                  <a:lnTo>
                    <a:pt x="2164" y="253"/>
                  </a:lnTo>
                  <a:lnTo>
                    <a:pt x="2183" y="320"/>
                  </a:lnTo>
                  <a:lnTo>
                    <a:pt x="2106" y="357"/>
                  </a:lnTo>
                  <a:lnTo>
                    <a:pt x="2147" y="484"/>
                  </a:lnTo>
                  <a:lnTo>
                    <a:pt x="2157" y="544"/>
                  </a:lnTo>
                  <a:lnTo>
                    <a:pt x="2211" y="576"/>
                  </a:lnTo>
                  <a:lnTo>
                    <a:pt x="2201" y="488"/>
                  </a:lnTo>
                  <a:lnTo>
                    <a:pt x="2221" y="491"/>
                  </a:lnTo>
                  <a:lnTo>
                    <a:pt x="2292" y="659"/>
                  </a:lnTo>
                  <a:lnTo>
                    <a:pt x="2314" y="655"/>
                  </a:lnTo>
                  <a:lnTo>
                    <a:pt x="2279" y="479"/>
                  </a:lnTo>
                  <a:lnTo>
                    <a:pt x="2332" y="469"/>
                  </a:lnTo>
                  <a:lnTo>
                    <a:pt x="2297" y="374"/>
                  </a:lnTo>
                  <a:lnTo>
                    <a:pt x="2301" y="307"/>
                  </a:lnTo>
                  <a:lnTo>
                    <a:pt x="2400" y="224"/>
                  </a:lnTo>
                  <a:lnTo>
                    <a:pt x="2434" y="109"/>
                  </a:lnTo>
                  <a:lnTo>
                    <a:pt x="2482" y="19"/>
                  </a:lnTo>
                  <a:lnTo>
                    <a:pt x="2582" y="0"/>
                  </a:lnTo>
                  <a:lnTo>
                    <a:pt x="2621" y="79"/>
                  </a:lnTo>
                  <a:lnTo>
                    <a:pt x="2680" y="163"/>
                  </a:lnTo>
                  <a:lnTo>
                    <a:pt x="2760" y="172"/>
                  </a:lnTo>
                  <a:lnTo>
                    <a:pt x="2855" y="162"/>
                  </a:lnTo>
                  <a:lnTo>
                    <a:pt x="2958" y="203"/>
                  </a:lnTo>
                  <a:lnTo>
                    <a:pt x="3000" y="272"/>
                  </a:lnTo>
                  <a:lnTo>
                    <a:pt x="3111" y="330"/>
                  </a:lnTo>
                  <a:lnTo>
                    <a:pt x="3153" y="414"/>
                  </a:lnTo>
                  <a:lnTo>
                    <a:pt x="3270" y="448"/>
                  </a:lnTo>
                  <a:lnTo>
                    <a:pt x="3276" y="555"/>
                  </a:lnTo>
                  <a:lnTo>
                    <a:pt x="3243" y="610"/>
                  </a:lnTo>
                  <a:lnTo>
                    <a:pt x="3299" y="720"/>
                  </a:lnTo>
                  <a:lnTo>
                    <a:pt x="3265" y="818"/>
                  </a:lnTo>
                  <a:lnTo>
                    <a:pt x="3349" y="965"/>
                  </a:lnTo>
                  <a:lnTo>
                    <a:pt x="3362" y="1079"/>
                  </a:lnTo>
                  <a:lnTo>
                    <a:pt x="3413" y="1155"/>
                  </a:lnTo>
                  <a:lnTo>
                    <a:pt x="3422" y="1241"/>
                  </a:lnTo>
                  <a:lnTo>
                    <a:pt x="3479" y="1291"/>
                  </a:lnTo>
                  <a:lnTo>
                    <a:pt x="3528" y="1354"/>
                  </a:lnTo>
                  <a:lnTo>
                    <a:pt x="3552" y="1517"/>
                  </a:lnTo>
                  <a:lnTo>
                    <a:pt x="3185" y="1851"/>
                  </a:lnTo>
                  <a:lnTo>
                    <a:pt x="2847" y="2170"/>
                  </a:lnTo>
                  <a:lnTo>
                    <a:pt x="2511" y="2496"/>
                  </a:lnTo>
                  <a:lnTo>
                    <a:pt x="2185" y="2824"/>
                  </a:lnTo>
                  <a:lnTo>
                    <a:pt x="2168" y="2876"/>
                  </a:lnTo>
                  <a:lnTo>
                    <a:pt x="2192" y="2895"/>
                  </a:lnTo>
                  <a:lnTo>
                    <a:pt x="2206" y="2922"/>
                  </a:lnTo>
                  <a:lnTo>
                    <a:pt x="2230" y="2940"/>
                  </a:lnTo>
                  <a:lnTo>
                    <a:pt x="2264" y="2956"/>
                  </a:lnTo>
                  <a:lnTo>
                    <a:pt x="2286" y="2979"/>
                  </a:lnTo>
                  <a:lnTo>
                    <a:pt x="2249" y="3029"/>
                  </a:lnTo>
                  <a:lnTo>
                    <a:pt x="2251" y="3065"/>
                  </a:lnTo>
                  <a:lnTo>
                    <a:pt x="2241" y="3113"/>
                  </a:lnTo>
                  <a:lnTo>
                    <a:pt x="2235" y="3201"/>
                  </a:lnTo>
                  <a:lnTo>
                    <a:pt x="2240" y="3242"/>
                  </a:lnTo>
                  <a:lnTo>
                    <a:pt x="2222" y="3291"/>
                  </a:lnTo>
                  <a:lnTo>
                    <a:pt x="2241" y="3325"/>
                  </a:lnTo>
                  <a:lnTo>
                    <a:pt x="2279" y="3325"/>
                  </a:lnTo>
                  <a:lnTo>
                    <a:pt x="2307" y="3340"/>
                  </a:lnTo>
                  <a:lnTo>
                    <a:pt x="2352" y="3319"/>
                  </a:lnTo>
                  <a:lnTo>
                    <a:pt x="2397" y="3301"/>
                  </a:lnTo>
                  <a:lnTo>
                    <a:pt x="2427" y="3315"/>
                  </a:lnTo>
                  <a:lnTo>
                    <a:pt x="2460" y="3317"/>
                  </a:lnTo>
                  <a:lnTo>
                    <a:pt x="2484" y="3334"/>
                  </a:lnTo>
                  <a:lnTo>
                    <a:pt x="2476" y="3383"/>
                  </a:lnTo>
                  <a:lnTo>
                    <a:pt x="2475" y="3427"/>
                  </a:lnTo>
                  <a:lnTo>
                    <a:pt x="2466" y="3487"/>
                  </a:lnTo>
                  <a:lnTo>
                    <a:pt x="2448" y="3544"/>
                  </a:lnTo>
                  <a:lnTo>
                    <a:pt x="2462" y="3576"/>
                  </a:lnTo>
                  <a:lnTo>
                    <a:pt x="2468" y="3614"/>
                  </a:lnTo>
                  <a:lnTo>
                    <a:pt x="2454" y="3670"/>
                  </a:lnTo>
                  <a:lnTo>
                    <a:pt x="2445" y="3722"/>
                  </a:lnTo>
                  <a:lnTo>
                    <a:pt x="2440" y="3775"/>
                  </a:lnTo>
                  <a:lnTo>
                    <a:pt x="2432" y="3828"/>
                  </a:lnTo>
                  <a:lnTo>
                    <a:pt x="2420" y="3884"/>
                  </a:lnTo>
                  <a:lnTo>
                    <a:pt x="2412" y="3936"/>
                  </a:lnTo>
                  <a:lnTo>
                    <a:pt x="2394" y="3989"/>
                  </a:lnTo>
                  <a:lnTo>
                    <a:pt x="2389" y="4036"/>
                  </a:lnTo>
                  <a:lnTo>
                    <a:pt x="2375" y="4089"/>
                  </a:lnTo>
                  <a:lnTo>
                    <a:pt x="2385" y="4131"/>
                  </a:lnTo>
                  <a:lnTo>
                    <a:pt x="2430" y="4192"/>
                  </a:lnTo>
                  <a:lnTo>
                    <a:pt x="2452" y="4277"/>
                  </a:lnTo>
                  <a:lnTo>
                    <a:pt x="2473" y="4303"/>
                  </a:lnTo>
                  <a:lnTo>
                    <a:pt x="2443" y="4363"/>
                  </a:lnTo>
                  <a:lnTo>
                    <a:pt x="2408" y="4416"/>
                  </a:lnTo>
                  <a:lnTo>
                    <a:pt x="2378" y="4470"/>
                  </a:lnTo>
                  <a:lnTo>
                    <a:pt x="2362" y="4482"/>
                  </a:lnTo>
                  <a:lnTo>
                    <a:pt x="2364" y="4481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7" name="Freeform 13">
              <a:extLst>
                <a:ext uri="{FF2B5EF4-FFF2-40B4-BE49-F238E27FC236}">
                  <a16:creationId xmlns:a16="http://schemas.microsoft.com/office/drawing/2014/main" id="{32C023E6-58A8-4810-845D-AD1DBADAEECB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3153101" y="2779456"/>
              <a:ext cx="26807" cy="25589"/>
            </a:xfrm>
            <a:custGeom>
              <a:avLst/>
              <a:gdLst/>
              <a:ahLst/>
              <a:cxnLst>
                <a:cxn ang="0">
                  <a:pos x="49" y="30"/>
                </a:cxn>
                <a:cxn ang="0">
                  <a:pos x="49" y="6"/>
                </a:cxn>
                <a:cxn ang="0">
                  <a:pos x="72" y="10"/>
                </a:cxn>
                <a:cxn ang="0">
                  <a:pos x="100" y="47"/>
                </a:cxn>
                <a:cxn ang="0">
                  <a:pos x="79" y="55"/>
                </a:cxn>
                <a:cxn ang="0">
                  <a:pos x="100" y="68"/>
                </a:cxn>
                <a:cxn ang="0">
                  <a:pos x="79" y="85"/>
                </a:cxn>
                <a:cxn ang="0">
                  <a:pos x="86" y="90"/>
                </a:cxn>
                <a:cxn ang="0">
                  <a:pos x="72" y="103"/>
                </a:cxn>
                <a:cxn ang="0">
                  <a:pos x="0" y="41"/>
                </a:cxn>
                <a:cxn ang="0">
                  <a:pos x="11" y="0"/>
                </a:cxn>
                <a:cxn ang="0">
                  <a:pos x="35" y="3"/>
                </a:cxn>
                <a:cxn ang="0">
                  <a:pos x="49" y="30"/>
                </a:cxn>
              </a:cxnLst>
              <a:rect l="0" t="0" r="r" b="b"/>
              <a:pathLst>
                <a:path w="100" h="103">
                  <a:moveTo>
                    <a:pt x="49" y="30"/>
                  </a:moveTo>
                  <a:lnTo>
                    <a:pt x="49" y="6"/>
                  </a:lnTo>
                  <a:lnTo>
                    <a:pt x="72" y="10"/>
                  </a:lnTo>
                  <a:lnTo>
                    <a:pt x="100" y="47"/>
                  </a:lnTo>
                  <a:lnTo>
                    <a:pt x="79" y="55"/>
                  </a:lnTo>
                  <a:lnTo>
                    <a:pt x="100" y="68"/>
                  </a:lnTo>
                  <a:lnTo>
                    <a:pt x="79" y="85"/>
                  </a:lnTo>
                  <a:lnTo>
                    <a:pt x="86" y="90"/>
                  </a:lnTo>
                  <a:lnTo>
                    <a:pt x="72" y="103"/>
                  </a:lnTo>
                  <a:lnTo>
                    <a:pt x="0" y="41"/>
                  </a:lnTo>
                  <a:lnTo>
                    <a:pt x="11" y="0"/>
                  </a:lnTo>
                  <a:lnTo>
                    <a:pt x="35" y="3"/>
                  </a:lnTo>
                  <a:lnTo>
                    <a:pt x="49" y="30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8" name="Freeform 15">
              <a:extLst>
                <a:ext uri="{FF2B5EF4-FFF2-40B4-BE49-F238E27FC236}">
                  <a16:creationId xmlns:a16="http://schemas.microsoft.com/office/drawing/2014/main" id="{635A38FC-FD53-43F9-AFA9-1058E94927EC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3082428" y="2763615"/>
              <a:ext cx="69456" cy="58489"/>
            </a:xfrm>
            <a:custGeom>
              <a:avLst/>
              <a:gdLst/>
              <a:ahLst/>
              <a:cxnLst>
                <a:cxn ang="0">
                  <a:pos x="62" y="7"/>
                </a:cxn>
                <a:cxn ang="0">
                  <a:pos x="62" y="0"/>
                </a:cxn>
                <a:cxn ang="0">
                  <a:pos x="69" y="14"/>
                </a:cxn>
                <a:cxn ang="0">
                  <a:pos x="86" y="3"/>
                </a:cxn>
                <a:cxn ang="0">
                  <a:pos x="120" y="11"/>
                </a:cxn>
                <a:cxn ang="0">
                  <a:pos x="148" y="38"/>
                </a:cxn>
                <a:cxn ang="0">
                  <a:pos x="151" y="49"/>
                </a:cxn>
                <a:cxn ang="0">
                  <a:pos x="131" y="49"/>
                </a:cxn>
                <a:cxn ang="0">
                  <a:pos x="117" y="83"/>
                </a:cxn>
                <a:cxn ang="0">
                  <a:pos x="120" y="100"/>
                </a:cxn>
                <a:cxn ang="0">
                  <a:pos x="155" y="76"/>
                </a:cxn>
                <a:cxn ang="0">
                  <a:pos x="166" y="83"/>
                </a:cxn>
                <a:cxn ang="0">
                  <a:pos x="180" y="41"/>
                </a:cxn>
                <a:cxn ang="0">
                  <a:pos x="200" y="35"/>
                </a:cxn>
                <a:cxn ang="0">
                  <a:pos x="210" y="49"/>
                </a:cxn>
                <a:cxn ang="0">
                  <a:pos x="183" y="90"/>
                </a:cxn>
                <a:cxn ang="0">
                  <a:pos x="217" y="93"/>
                </a:cxn>
                <a:cxn ang="0">
                  <a:pos x="230" y="113"/>
                </a:cxn>
                <a:cxn ang="0">
                  <a:pos x="244" y="93"/>
                </a:cxn>
                <a:cxn ang="0">
                  <a:pos x="258" y="124"/>
                </a:cxn>
                <a:cxn ang="0">
                  <a:pos x="235" y="148"/>
                </a:cxn>
                <a:cxn ang="0">
                  <a:pos x="276" y="162"/>
                </a:cxn>
                <a:cxn ang="0">
                  <a:pos x="227" y="203"/>
                </a:cxn>
                <a:cxn ang="0">
                  <a:pos x="244" y="234"/>
                </a:cxn>
                <a:cxn ang="0">
                  <a:pos x="213" y="238"/>
                </a:cxn>
                <a:cxn ang="0">
                  <a:pos x="193" y="169"/>
                </a:cxn>
                <a:cxn ang="0">
                  <a:pos x="175" y="173"/>
                </a:cxn>
                <a:cxn ang="0">
                  <a:pos x="186" y="211"/>
                </a:cxn>
                <a:cxn ang="0">
                  <a:pos x="169" y="231"/>
                </a:cxn>
                <a:cxn ang="0">
                  <a:pos x="162" y="211"/>
                </a:cxn>
                <a:cxn ang="0">
                  <a:pos x="172" y="200"/>
                </a:cxn>
                <a:cxn ang="0">
                  <a:pos x="141" y="179"/>
                </a:cxn>
                <a:cxn ang="0">
                  <a:pos x="141" y="197"/>
                </a:cxn>
                <a:cxn ang="0">
                  <a:pos x="117" y="169"/>
                </a:cxn>
                <a:cxn ang="0">
                  <a:pos x="76" y="159"/>
                </a:cxn>
                <a:cxn ang="0">
                  <a:pos x="52" y="176"/>
                </a:cxn>
                <a:cxn ang="0">
                  <a:pos x="35" y="176"/>
                </a:cxn>
                <a:cxn ang="0">
                  <a:pos x="0" y="151"/>
                </a:cxn>
                <a:cxn ang="0">
                  <a:pos x="38" y="148"/>
                </a:cxn>
                <a:cxn ang="0">
                  <a:pos x="41" y="124"/>
                </a:cxn>
                <a:cxn ang="0">
                  <a:pos x="62" y="113"/>
                </a:cxn>
                <a:cxn ang="0">
                  <a:pos x="59" y="86"/>
                </a:cxn>
                <a:cxn ang="0">
                  <a:pos x="52" y="96"/>
                </a:cxn>
                <a:cxn ang="0">
                  <a:pos x="21" y="121"/>
                </a:cxn>
                <a:cxn ang="0">
                  <a:pos x="7" y="113"/>
                </a:cxn>
                <a:cxn ang="0">
                  <a:pos x="10" y="86"/>
                </a:cxn>
                <a:cxn ang="0">
                  <a:pos x="55" y="38"/>
                </a:cxn>
                <a:cxn ang="0">
                  <a:pos x="62" y="7"/>
                </a:cxn>
              </a:cxnLst>
              <a:rect l="0" t="0" r="r" b="b"/>
              <a:pathLst>
                <a:path w="276" h="238">
                  <a:moveTo>
                    <a:pt x="62" y="7"/>
                  </a:moveTo>
                  <a:lnTo>
                    <a:pt x="62" y="0"/>
                  </a:lnTo>
                  <a:lnTo>
                    <a:pt x="69" y="14"/>
                  </a:lnTo>
                  <a:lnTo>
                    <a:pt x="86" y="3"/>
                  </a:lnTo>
                  <a:lnTo>
                    <a:pt x="120" y="11"/>
                  </a:lnTo>
                  <a:lnTo>
                    <a:pt x="148" y="38"/>
                  </a:lnTo>
                  <a:lnTo>
                    <a:pt x="151" y="49"/>
                  </a:lnTo>
                  <a:lnTo>
                    <a:pt x="131" y="49"/>
                  </a:lnTo>
                  <a:lnTo>
                    <a:pt x="117" y="83"/>
                  </a:lnTo>
                  <a:lnTo>
                    <a:pt x="120" y="100"/>
                  </a:lnTo>
                  <a:lnTo>
                    <a:pt x="155" y="76"/>
                  </a:lnTo>
                  <a:lnTo>
                    <a:pt x="166" y="83"/>
                  </a:lnTo>
                  <a:lnTo>
                    <a:pt x="180" y="41"/>
                  </a:lnTo>
                  <a:lnTo>
                    <a:pt x="200" y="35"/>
                  </a:lnTo>
                  <a:lnTo>
                    <a:pt x="210" y="49"/>
                  </a:lnTo>
                  <a:lnTo>
                    <a:pt x="183" y="90"/>
                  </a:lnTo>
                  <a:lnTo>
                    <a:pt x="217" y="93"/>
                  </a:lnTo>
                  <a:lnTo>
                    <a:pt x="230" y="113"/>
                  </a:lnTo>
                  <a:lnTo>
                    <a:pt x="244" y="93"/>
                  </a:lnTo>
                  <a:lnTo>
                    <a:pt x="258" y="124"/>
                  </a:lnTo>
                  <a:lnTo>
                    <a:pt x="235" y="148"/>
                  </a:lnTo>
                  <a:lnTo>
                    <a:pt x="276" y="162"/>
                  </a:lnTo>
                  <a:lnTo>
                    <a:pt x="227" y="203"/>
                  </a:lnTo>
                  <a:lnTo>
                    <a:pt x="244" y="234"/>
                  </a:lnTo>
                  <a:lnTo>
                    <a:pt x="213" y="238"/>
                  </a:lnTo>
                  <a:lnTo>
                    <a:pt x="193" y="169"/>
                  </a:lnTo>
                  <a:lnTo>
                    <a:pt x="175" y="173"/>
                  </a:lnTo>
                  <a:lnTo>
                    <a:pt x="186" y="211"/>
                  </a:lnTo>
                  <a:lnTo>
                    <a:pt x="169" y="231"/>
                  </a:lnTo>
                  <a:lnTo>
                    <a:pt x="162" y="211"/>
                  </a:lnTo>
                  <a:lnTo>
                    <a:pt x="172" y="200"/>
                  </a:lnTo>
                  <a:lnTo>
                    <a:pt x="141" y="179"/>
                  </a:lnTo>
                  <a:lnTo>
                    <a:pt x="141" y="197"/>
                  </a:lnTo>
                  <a:lnTo>
                    <a:pt x="117" y="169"/>
                  </a:lnTo>
                  <a:lnTo>
                    <a:pt x="76" y="159"/>
                  </a:lnTo>
                  <a:lnTo>
                    <a:pt x="52" y="176"/>
                  </a:lnTo>
                  <a:lnTo>
                    <a:pt x="35" y="176"/>
                  </a:lnTo>
                  <a:lnTo>
                    <a:pt x="0" y="151"/>
                  </a:lnTo>
                  <a:lnTo>
                    <a:pt x="38" y="148"/>
                  </a:lnTo>
                  <a:lnTo>
                    <a:pt x="41" y="124"/>
                  </a:lnTo>
                  <a:lnTo>
                    <a:pt x="62" y="113"/>
                  </a:lnTo>
                  <a:lnTo>
                    <a:pt x="59" y="86"/>
                  </a:lnTo>
                  <a:lnTo>
                    <a:pt x="52" y="96"/>
                  </a:lnTo>
                  <a:lnTo>
                    <a:pt x="21" y="121"/>
                  </a:lnTo>
                  <a:lnTo>
                    <a:pt x="7" y="113"/>
                  </a:lnTo>
                  <a:lnTo>
                    <a:pt x="10" y="86"/>
                  </a:lnTo>
                  <a:lnTo>
                    <a:pt x="55" y="38"/>
                  </a:lnTo>
                  <a:lnTo>
                    <a:pt x="62" y="7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9" name="Freeform 17">
              <a:extLst>
                <a:ext uri="{FF2B5EF4-FFF2-40B4-BE49-F238E27FC236}">
                  <a16:creationId xmlns:a16="http://schemas.microsoft.com/office/drawing/2014/main" id="{B3195623-E8BF-409F-AA15-60EC6D564840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3103143" y="2807483"/>
              <a:ext cx="12186" cy="9748"/>
            </a:xfrm>
            <a:custGeom>
              <a:avLst/>
              <a:gdLst/>
              <a:ahLst/>
              <a:cxnLst>
                <a:cxn ang="0">
                  <a:pos x="25" y="24"/>
                </a:cxn>
                <a:cxn ang="0">
                  <a:pos x="0" y="21"/>
                </a:cxn>
                <a:cxn ang="0">
                  <a:pos x="11" y="0"/>
                </a:cxn>
                <a:cxn ang="0">
                  <a:pos x="38" y="7"/>
                </a:cxn>
                <a:cxn ang="0">
                  <a:pos x="49" y="41"/>
                </a:cxn>
                <a:cxn ang="0">
                  <a:pos x="25" y="24"/>
                </a:cxn>
              </a:cxnLst>
              <a:rect l="0" t="0" r="r" b="b"/>
              <a:pathLst>
                <a:path w="49" h="41">
                  <a:moveTo>
                    <a:pt x="25" y="24"/>
                  </a:moveTo>
                  <a:lnTo>
                    <a:pt x="0" y="21"/>
                  </a:lnTo>
                  <a:lnTo>
                    <a:pt x="11" y="0"/>
                  </a:lnTo>
                  <a:lnTo>
                    <a:pt x="38" y="7"/>
                  </a:lnTo>
                  <a:lnTo>
                    <a:pt x="49" y="41"/>
                  </a:lnTo>
                  <a:lnTo>
                    <a:pt x="25" y="24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0" name="Freeform 19">
              <a:extLst>
                <a:ext uri="{FF2B5EF4-FFF2-40B4-BE49-F238E27FC236}">
                  <a16:creationId xmlns:a16="http://schemas.microsoft.com/office/drawing/2014/main" id="{AB952562-B0A1-4213-B2A7-5F33DDDDCB6A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3067805" y="2801389"/>
              <a:ext cx="6093" cy="4874"/>
            </a:xfrm>
            <a:custGeom>
              <a:avLst/>
              <a:gdLst/>
              <a:ahLst/>
              <a:cxnLst>
                <a:cxn ang="0">
                  <a:pos x="3" y="13"/>
                </a:cxn>
                <a:cxn ang="0">
                  <a:pos x="0" y="0"/>
                </a:cxn>
                <a:cxn ang="0">
                  <a:pos x="21" y="3"/>
                </a:cxn>
                <a:cxn ang="0">
                  <a:pos x="10" y="17"/>
                </a:cxn>
                <a:cxn ang="0">
                  <a:pos x="3" y="13"/>
                </a:cxn>
              </a:cxnLst>
              <a:rect l="0" t="0" r="r" b="b"/>
              <a:pathLst>
                <a:path w="21" h="17">
                  <a:moveTo>
                    <a:pt x="3" y="13"/>
                  </a:moveTo>
                  <a:lnTo>
                    <a:pt x="0" y="0"/>
                  </a:lnTo>
                  <a:lnTo>
                    <a:pt x="21" y="3"/>
                  </a:lnTo>
                  <a:lnTo>
                    <a:pt x="10" y="17"/>
                  </a:lnTo>
                  <a:lnTo>
                    <a:pt x="3" y="13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1" name="Freeform 21">
              <a:extLst>
                <a:ext uri="{FF2B5EF4-FFF2-40B4-BE49-F238E27FC236}">
                  <a16:creationId xmlns:a16="http://schemas.microsoft.com/office/drawing/2014/main" id="{0919D927-4492-41A9-B858-EC89755D8F84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3056839" y="2791641"/>
              <a:ext cx="8529" cy="4874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38" y="11"/>
                </a:cxn>
                <a:cxn ang="0">
                  <a:pos x="28" y="21"/>
                </a:cxn>
                <a:cxn ang="0">
                  <a:pos x="0" y="18"/>
                </a:cxn>
                <a:cxn ang="0">
                  <a:pos x="20" y="0"/>
                </a:cxn>
              </a:cxnLst>
              <a:rect l="0" t="0" r="r" b="b"/>
              <a:pathLst>
                <a:path w="38" h="21">
                  <a:moveTo>
                    <a:pt x="20" y="0"/>
                  </a:moveTo>
                  <a:lnTo>
                    <a:pt x="38" y="11"/>
                  </a:lnTo>
                  <a:lnTo>
                    <a:pt x="28" y="21"/>
                  </a:lnTo>
                  <a:lnTo>
                    <a:pt x="0" y="18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2" name="Freeform 22">
              <a:extLst>
                <a:ext uri="{FF2B5EF4-FFF2-40B4-BE49-F238E27FC236}">
                  <a16:creationId xmlns:a16="http://schemas.microsoft.com/office/drawing/2014/main" id="{3C741600-7802-4F9C-B497-BC4C8BEEED9D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3056839" y="2791641"/>
              <a:ext cx="8529" cy="4874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38" y="11"/>
                </a:cxn>
                <a:cxn ang="0">
                  <a:pos x="28" y="21"/>
                </a:cxn>
                <a:cxn ang="0">
                  <a:pos x="0" y="18"/>
                </a:cxn>
                <a:cxn ang="0">
                  <a:pos x="20" y="0"/>
                </a:cxn>
              </a:cxnLst>
              <a:rect l="0" t="0" r="r" b="b"/>
              <a:pathLst>
                <a:path w="38" h="21">
                  <a:moveTo>
                    <a:pt x="20" y="0"/>
                  </a:moveTo>
                  <a:lnTo>
                    <a:pt x="38" y="11"/>
                  </a:lnTo>
                  <a:lnTo>
                    <a:pt x="28" y="21"/>
                  </a:lnTo>
                  <a:lnTo>
                    <a:pt x="0" y="18"/>
                  </a:lnTo>
                  <a:lnTo>
                    <a:pt x="20" y="0"/>
                  </a:lnTo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3" name="Freeform 23">
              <a:extLst>
                <a:ext uri="{FF2B5EF4-FFF2-40B4-BE49-F238E27FC236}">
                  <a16:creationId xmlns:a16="http://schemas.microsoft.com/office/drawing/2014/main" id="{35C3E6AD-12A5-4F7F-924A-E6272A1E8909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5659579" y="5352951"/>
              <a:ext cx="73111" cy="35337"/>
            </a:xfrm>
            <a:custGeom>
              <a:avLst/>
              <a:gdLst/>
              <a:ahLst/>
              <a:cxnLst>
                <a:cxn ang="0">
                  <a:pos x="261" y="7"/>
                </a:cxn>
                <a:cxn ang="0">
                  <a:pos x="285" y="55"/>
                </a:cxn>
                <a:cxn ang="0">
                  <a:pos x="244" y="100"/>
                </a:cxn>
                <a:cxn ang="0">
                  <a:pos x="185" y="124"/>
                </a:cxn>
                <a:cxn ang="0">
                  <a:pos x="41" y="145"/>
                </a:cxn>
                <a:cxn ang="0">
                  <a:pos x="3" y="79"/>
                </a:cxn>
                <a:cxn ang="0">
                  <a:pos x="0" y="52"/>
                </a:cxn>
                <a:cxn ang="0">
                  <a:pos x="17" y="35"/>
                </a:cxn>
                <a:cxn ang="0">
                  <a:pos x="226" y="0"/>
                </a:cxn>
                <a:cxn ang="0">
                  <a:pos x="261" y="7"/>
                </a:cxn>
              </a:cxnLst>
              <a:rect l="0" t="0" r="r" b="b"/>
              <a:pathLst>
                <a:path w="285" h="145">
                  <a:moveTo>
                    <a:pt x="261" y="7"/>
                  </a:moveTo>
                  <a:lnTo>
                    <a:pt x="285" y="55"/>
                  </a:lnTo>
                  <a:lnTo>
                    <a:pt x="244" y="100"/>
                  </a:lnTo>
                  <a:lnTo>
                    <a:pt x="185" y="124"/>
                  </a:lnTo>
                  <a:lnTo>
                    <a:pt x="41" y="145"/>
                  </a:lnTo>
                  <a:lnTo>
                    <a:pt x="3" y="79"/>
                  </a:lnTo>
                  <a:lnTo>
                    <a:pt x="0" y="52"/>
                  </a:lnTo>
                  <a:lnTo>
                    <a:pt x="17" y="35"/>
                  </a:lnTo>
                  <a:lnTo>
                    <a:pt x="226" y="0"/>
                  </a:lnTo>
                  <a:lnTo>
                    <a:pt x="261" y="7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4" name="Freeform 25">
              <a:extLst>
                <a:ext uri="{FF2B5EF4-FFF2-40B4-BE49-F238E27FC236}">
                  <a16:creationId xmlns:a16="http://schemas.microsoft.com/office/drawing/2014/main" id="{6BE73969-D889-486D-9576-779ABF45DC15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5768026" y="5350514"/>
              <a:ext cx="1219" cy="6093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0" y="28"/>
                </a:cxn>
                <a:cxn ang="0">
                  <a:pos x="14" y="21"/>
                </a:cxn>
                <a:cxn ang="0">
                  <a:pos x="9" y="0"/>
                </a:cxn>
              </a:cxnLst>
              <a:rect l="0" t="0" r="r" b="b"/>
              <a:pathLst>
                <a:path w="14" h="28">
                  <a:moveTo>
                    <a:pt x="9" y="0"/>
                  </a:moveTo>
                  <a:lnTo>
                    <a:pt x="0" y="28"/>
                  </a:lnTo>
                  <a:lnTo>
                    <a:pt x="14" y="21"/>
                  </a:lnTo>
                  <a:lnTo>
                    <a:pt x="9" y="0"/>
                  </a:lnTo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5" name="Freeform 26">
              <a:extLst>
                <a:ext uri="{FF2B5EF4-FFF2-40B4-BE49-F238E27FC236}">
                  <a16:creationId xmlns:a16="http://schemas.microsoft.com/office/drawing/2014/main" id="{95389C5A-3E5E-40F0-BF6F-5E110893116E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5778993" y="5379758"/>
              <a:ext cx="4874" cy="6093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0" y="24"/>
                </a:cxn>
                <a:cxn ang="0">
                  <a:pos x="18" y="0"/>
                </a:cxn>
                <a:cxn ang="0">
                  <a:pos x="0" y="7"/>
                </a:cxn>
              </a:cxnLst>
              <a:rect l="0" t="0" r="r" b="b"/>
              <a:pathLst>
                <a:path w="18" h="24">
                  <a:moveTo>
                    <a:pt x="0" y="7"/>
                  </a:moveTo>
                  <a:lnTo>
                    <a:pt x="0" y="24"/>
                  </a:lnTo>
                  <a:lnTo>
                    <a:pt x="18" y="0"/>
                  </a:lnTo>
                  <a:lnTo>
                    <a:pt x="0" y="7"/>
                  </a:lnTo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6" name="Freeform 27">
              <a:extLst>
                <a:ext uri="{FF2B5EF4-FFF2-40B4-BE49-F238E27FC236}">
                  <a16:creationId xmlns:a16="http://schemas.microsoft.com/office/drawing/2014/main" id="{FE12CBE7-6E45-4033-8276-31C329AC29B7}"/>
                </a:ext>
              </a:extLst>
            </p:cNvPr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3299323" y="2841600"/>
              <a:ext cx="35337" cy="9748"/>
            </a:xfrm>
            <a:custGeom>
              <a:avLst/>
              <a:gdLst/>
              <a:ahLst/>
              <a:cxnLst>
                <a:cxn ang="0">
                  <a:pos x="46" y="3"/>
                </a:cxn>
                <a:cxn ang="0">
                  <a:pos x="118" y="10"/>
                </a:cxn>
                <a:cxn ang="0">
                  <a:pos x="139" y="0"/>
                </a:cxn>
                <a:cxn ang="0">
                  <a:pos x="132" y="27"/>
                </a:cxn>
                <a:cxn ang="0">
                  <a:pos x="73" y="27"/>
                </a:cxn>
                <a:cxn ang="0">
                  <a:pos x="35" y="38"/>
                </a:cxn>
                <a:cxn ang="0">
                  <a:pos x="0" y="13"/>
                </a:cxn>
                <a:cxn ang="0">
                  <a:pos x="46" y="3"/>
                </a:cxn>
              </a:cxnLst>
              <a:rect l="0" t="0" r="r" b="b"/>
              <a:pathLst>
                <a:path w="139" h="38">
                  <a:moveTo>
                    <a:pt x="46" y="3"/>
                  </a:moveTo>
                  <a:lnTo>
                    <a:pt x="118" y="10"/>
                  </a:lnTo>
                  <a:lnTo>
                    <a:pt x="139" y="0"/>
                  </a:lnTo>
                  <a:lnTo>
                    <a:pt x="132" y="27"/>
                  </a:lnTo>
                  <a:lnTo>
                    <a:pt x="73" y="27"/>
                  </a:lnTo>
                  <a:lnTo>
                    <a:pt x="35" y="38"/>
                  </a:lnTo>
                  <a:lnTo>
                    <a:pt x="0" y="13"/>
                  </a:lnTo>
                  <a:lnTo>
                    <a:pt x="46" y="3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7" name="Freeform 29">
              <a:extLst>
                <a:ext uri="{FF2B5EF4-FFF2-40B4-BE49-F238E27FC236}">
                  <a16:creationId xmlns:a16="http://schemas.microsoft.com/office/drawing/2014/main" id="{F560786B-BC91-4299-BEF2-A294B719FC71}"/>
                </a:ext>
              </a:extLst>
            </p:cNvPr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3406552" y="3302197"/>
              <a:ext cx="9748" cy="29244"/>
            </a:xfrm>
            <a:custGeom>
              <a:avLst/>
              <a:gdLst/>
              <a:ahLst/>
              <a:cxnLst>
                <a:cxn ang="0">
                  <a:pos x="20" y="51"/>
                </a:cxn>
                <a:cxn ang="0">
                  <a:pos x="13" y="117"/>
                </a:cxn>
                <a:cxn ang="0">
                  <a:pos x="3" y="121"/>
                </a:cxn>
                <a:cxn ang="0">
                  <a:pos x="0" y="100"/>
                </a:cxn>
                <a:cxn ang="0">
                  <a:pos x="6" y="45"/>
                </a:cxn>
                <a:cxn ang="0">
                  <a:pos x="30" y="0"/>
                </a:cxn>
                <a:cxn ang="0">
                  <a:pos x="37" y="21"/>
                </a:cxn>
                <a:cxn ang="0">
                  <a:pos x="20" y="51"/>
                </a:cxn>
              </a:cxnLst>
              <a:rect l="0" t="0" r="r" b="b"/>
              <a:pathLst>
                <a:path w="37" h="121">
                  <a:moveTo>
                    <a:pt x="20" y="51"/>
                  </a:moveTo>
                  <a:lnTo>
                    <a:pt x="13" y="117"/>
                  </a:lnTo>
                  <a:lnTo>
                    <a:pt x="3" y="121"/>
                  </a:lnTo>
                  <a:lnTo>
                    <a:pt x="0" y="100"/>
                  </a:lnTo>
                  <a:lnTo>
                    <a:pt x="6" y="45"/>
                  </a:lnTo>
                  <a:lnTo>
                    <a:pt x="30" y="0"/>
                  </a:lnTo>
                  <a:lnTo>
                    <a:pt x="37" y="21"/>
                  </a:lnTo>
                  <a:lnTo>
                    <a:pt x="20" y="51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8" name="Freeform 30">
              <a:extLst>
                <a:ext uri="{FF2B5EF4-FFF2-40B4-BE49-F238E27FC236}">
                  <a16:creationId xmlns:a16="http://schemas.microsoft.com/office/drawing/2014/main" id="{9C12FEED-0B2C-498A-802F-0331F3AAD12B}"/>
                </a:ext>
              </a:extLst>
            </p:cNvPr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3406552" y="3302197"/>
              <a:ext cx="9748" cy="29244"/>
            </a:xfrm>
            <a:custGeom>
              <a:avLst/>
              <a:gdLst/>
              <a:ahLst/>
              <a:cxnLst>
                <a:cxn ang="0">
                  <a:pos x="20" y="51"/>
                </a:cxn>
                <a:cxn ang="0">
                  <a:pos x="13" y="117"/>
                </a:cxn>
                <a:cxn ang="0">
                  <a:pos x="3" y="121"/>
                </a:cxn>
                <a:cxn ang="0">
                  <a:pos x="0" y="100"/>
                </a:cxn>
                <a:cxn ang="0">
                  <a:pos x="6" y="45"/>
                </a:cxn>
                <a:cxn ang="0">
                  <a:pos x="30" y="0"/>
                </a:cxn>
                <a:cxn ang="0">
                  <a:pos x="37" y="21"/>
                </a:cxn>
                <a:cxn ang="0">
                  <a:pos x="20" y="51"/>
                </a:cxn>
              </a:cxnLst>
              <a:rect l="0" t="0" r="r" b="b"/>
              <a:pathLst>
                <a:path w="37" h="121">
                  <a:moveTo>
                    <a:pt x="20" y="51"/>
                  </a:moveTo>
                  <a:lnTo>
                    <a:pt x="13" y="117"/>
                  </a:lnTo>
                  <a:lnTo>
                    <a:pt x="3" y="121"/>
                  </a:lnTo>
                  <a:lnTo>
                    <a:pt x="0" y="100"/>
                  </a:lnTo>
                  <a:lnTo>
                    <a:pt x="6" y="45"/>
                  </a:lnTo>
                  <a:lnTo>
                    <a:pt x="30" y="0"/>
                  </a:lnTo>
                  <a:lnTo>
                    <a:pt x="37" y="21"/>
                  </a:lnTo>
                  <a:lnTo>
                    <a:pt x="20" y="51"/>
                  </a:lnTo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9" name="Freeform 31">
              <a:extLst>
                <a:ext uri="{FF2B5EF4-FFF2-40B4-BE49-F238E27FC236}">
                  <a16:creationId xmlns:a16="http://schemas.microsoft.com/office/drawing/2014/main" id="{F77955EB-8404-43A7-BEF0-C366409E242B}"/>
                </a:ext>
              </a:extLst>
            </p:cNvPr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3454074" y="3305853"/>
              <a:ext cx="26807" cy="38992"/>
            </a:xfrm>
            <a:custGeom>
              <a:avLst/>
              <a:gdLst/>
              <a:ahLst/>
              <a:cxnLst>
                <a:cxn ang="0">
                  <a:pos x="18" y="121"/>
                </a:cxn>
                <a:cxn ang="0">
                  <a:pos x="38" y="100"/>
                </a:cxn>
                <a:cxn ang="0">
                  <a:pos x="24" y="135"/>
                </a:cxn>
                <a:cxn ang="0">
                  <a:pos x="45" y="162"/>
                </a:cxn>
                <a:cxn ang="0">
                  <a:pos x="62" y="117"/>
                </a:cxn>
                <a:cxn ang="0">
                  <a:pos x="90" y="83"/>
                </a:cxn>
                <a:cxn ang="0">
                  <a:pos x="111" y="10"/>
                </a:cxn>
                <a:cxn ang="0">
                  <a:pos x="55" y="0"/>
                </a:cxn>
                <a:cxn ang="0">
                  <a:pos x="52" y="17"/>
                </a:cxn>
                <a:cxn ang="0">
                  <a:pos x="0" y="55"/>
                </a:cxn>
                <a:cxn ang="0">
                  <a:pos x="4" y="86"/>
                </a:cxn>
                <a:cxn ang="0">
                  <a:pos x="31" y="62"/>
                </a:cxn>
                <a:cxn ang="0">
                  <a:pos x="27" y="83"/>
                </a:cxn>
                <a:cxn ang="0">
                  <a:pos x="38" y="83"/>
                </a:cxn>
                <a:cxn ang="0">
                  <a:pos x="59" y="51"/>
                </a:cxn>
                <a:cxn ang="0">
                  <a:pos x="45" y="86"/>
                </a:cxn>
                <a:cxn ang="0">
                  <a:pos x="18" y="107"/>
                </a:cxn>
                <a:cxn ang="0">
                  <a:pos x="18" y="121"/>
                </a:cxn>
              </a:cxnLst>
              <a:rect l="0" t="0" r="r" b="b"/>
              <a:pathLst>
                <a:path w="111" h="162">
                  <a:moveTo>
                    <a:pt x="18" y="121"/>
                  </a:moveTo>
                  <a:lnTo>
                    <a:pt x="38" y="100"/>
                  </a:lnTo>
                  <a:lnTo>
                    <a:pt x="24" y="135"/>
                  </a:lnTo>
                  <a:lnTo>
                    <a:pt x="45" y="162"/>
                  </a:lnTo>
                  <a:lnTo>
                    <a:pt x="62" y="117"/>
                  </a:lnTo>
                  <a:lnTo>
                    <a:pt x="90" y="83"/>
                  </a:lnTo>
                  <a:lnTo>
                    <a:pt x="111" y="10"/>
                  </a:lnTo>
                  <a:lnTo>
                    <a:pt x="55" y="0"/>
                  </a:lnTo>
                  <a:lnTo>
                    <a:pt x="52" y="17"/>
                  </a:lnTo>
                  <a:lnTo>
                    <a:pt x="0" y="55"/>
                  </a:lnTo>
                  <a:lnTo>
                    <a:pt x="4" y="86"/>
                  </a:lnTo>
                  <a:lnTo>
                    <a:pt x="31" y="62"/>
                  </a:lnTo>
                  <a:lnTo>
                    <a:pt x="27" y="83"/>
                  </a:lnTo>
                  <a:lnTo>
                    <a:pt x="38" y="83"/>
                  </a:lnTo>
                  <a:lnTo>
                    <a:pt x="59" y="51"/>
                  </a:lnTo>
                  <a:lnTo>
                    <a:pt x="45" y="86"/>
                  </a:lnTo>
                  <a:lnTo>
                    <a:pt x="18" y="107"/>
                  </a:lnTo>
                  <a:lnTo>
                    <a:pt x="18" y="121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0" name="Freeform 33">
              <a:extLst>
                <a:ext uri="{FF2B5EF4-FFF2-40B4-BE49-F238E27FC236}">
                  <a16:creationId xmlns:a16="http://schemas.microsoft.com/office/drawing/2014/main" id="{1E921ED8-D7A4-4869-BA34-6604605E6C2E}"/>
                </a:ext>
              </a:extLst>
            </p:cNvPr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3417519" y="3248583"/>
              <a:ext cx="30462" cy="96262"/>
            </a:xfrm>
            <a:custGeom>
              <a:avLst/>
              <a:gdLst/>
              <a:ahLst/>
              <a:cxnLst>
                <a:cxn ang="0">
                  <a:pos x="121" y="118"/>
                </a:cxn>
                <a:cxn ang="0">
                  <a:pos x="116" y="177"/>
                </a:cxn>
                <a:cxn ang="0">
                  <a:pos x="100" y="191"/>
                </a:cxn>
                <a:cxn ang="0">
                  <a:pos x="110" y="200"/>
                </a:cxn>
                <a:cxn ang="0">
                  <a:pos x="107" y="252"/>
                </a:cxn>
                <a:cxn ang="0">
                  <a:pos x="89" y="208"/>
                </a:cxn>
                <a:cxn ang="0">
                  <a:pos x="75" y="249"/>
                </a:cxn>
                <a:cxn ang="0">
                  <a:pos x="93" y="277"/>
                </a:cxn>
                <a:cxn ang="0">
                  <a:pos x="79" y="301"/>
                </a:cxn>
                <a:cxn ang="0">
                  <a:pos x="89" y="310"/>
                </a:cxn>
                <a:cxn ang="0">
                  <a:pos x="52" y="342"/>
                </a:cxn>
                <a:cxn ang="0">
                  <a:pos x="66" y="349"/>
                </a:cxn>
                <a:cxn ang="0">
                  <a:pos x="34" y="394"/>
                </a:cxn>
                <a:cxn ang="0">
                  <a:pos x="11" y="376"/>
                </a:cxn>
                <a:cxn ang="0">
                  <a:pos x="34" y="321"/>
                </a:cxn>
                <a:cxn ang="0">
                  <a:pos x="20" y="315"/>
                </a:cxn>
                <a:cxn ang="0">
                  <a:pos x="31" y="266"/>
                </a:cxn>
                <a:cxn ang="0">
                  <a:pos x="0" y="200"/>
                </a:cxn>
                <a:cxn ang="0">
                  <a:pos x="28" y="211"/>
                </a:cxn>
                <a:cxn ang="0">
                  <a:pos x="38" y="183"/>
                </a:cxn>
                <a:cxn ang="0">
                  <a:pos x="52" y="180"/>
                </a:cxn>
                <a:cxn ang="0">
                  <a:pos x="55" y="162"/>
                </a:cxn>
                <a:cxn ang="0">
                  <a:pos x="28" y="153"/>
                </a:cxn>
                <a:cxn ang="0">
                  <a:pos x="24" y="135"/>
                </a:cxn>
                <a:cxn ang="0">
                  <a:pos x="55" y="118"/>
                </a:cxn>
                <a:cxn ang="0">
                  <a:pos x="93" y="63"/>
                </a:cxn>
                <a:cxn ang="0">
                  <a:pos x="72" y="73"/>
                </a:cxn>
                <a:cxn ang="0">
                  <a:pos x="24" y="63"/>
                </a:cxn>
                <a:cxn ang="0">
                  <a:pos x="75" y="32"/>
                </a:cxn>
                <a:cxn ang="0">
                  <a:pos x="75" y="15"/>
                </a:cxn>
                <a:cxn ang="0">
                  <a:pos x="86" y="0"/>
                </a:cxn>
                <a:cxn ang="0">
                  <a:pos x="121" y="35"/>
                </a:cxn>
                <a:cxn ang="0">
                  <a:pos x="121" y="56"/>
                </a:cxn>
                <a:cxn ang="0">
                  <a:pos x="96" y="87"/>
                </a:cxn>
                <a:cxn ang="0">
                  <a:pos x="121" y="118"/>
                </a:cxn>
              </a:cxnLst>
              <a:rect l="0" t="0" r="r" b="b"/>
              <a:pathLst>
                <a:path w="121" h="394">
                  <a:moveTo>
                    <a:pt x="121" y="118"/>
                  </a:moveTo>
                  <a:lnTo>
                    <a:pt x="116" y="177"/>
                  </a:lnTo>
                  <a:lnTo>
                    <a:pt x="100" y="191"/>
                  </a:lnTo>
                  <a:lnTo>
                    <a:pt x="110" y="200"/>
                  </a:lnTo>
                  <a:lnTo>
                    <a:pt x="107" y="252"/>
                  </a:lnTo>
                  <a:lnTo>
                    <a:pt x="89" y="208"/>
                  </a:lnTo>
                  <a:lnTo>
                    <a:pt x="75" y="249"/>
                  </a:lnTo>
                  <a:lnTo>
                    <a:pt x="93" y="277"/>
                  </a:lnTo>
                  <a:lnTo>
                    <a:pt x="79" y="301"/>
                  </a:lnTo>
                  <a:lnTo>
                    <a:pt x="89" y="310"/>
                  </a:lnTo>
                  <a:lnTo>
                    <a:pt x="52" y="342"/>
                  </a:lnTo>
                  <a:lnTo>
                    <a:pt x="66" y="349"/>
                  </a:lnTo>
                  <a:lnTo>
                    <a:pt x="34" y="394"/>
                  </a:lnTo>
                  <a:lnTo>
                    <a:pt x="11" y="376"/>
                  </a:lnTo>
                  <a:lnTo>
                    <a:pt x="34" y="321"/>
                  </a:lnTo>
                  <a:lnTo>
                    <a:pt x="20" y="315"/>
                  </a:lnTo>
                  <a:lnTo>
                    <a:pt x="31" y="266"/>
                  </a:lnTo>
                  <a:lnTo>
                    <a:pt x="0" y="200"/>
                  </a:lnTo>
                  <a:lnTo>
                    <a:pt x="28" y="211"/>
                  </a:lnTo>
                  <a:lnTo>
                    <a:pt x="38" y="183"/>
                  </a:lnTo>
                  <a:lnTo>
                    <a:pt x="52" y="180"/>
                  </a:lnTo>
                  <a:lnTo>
                    <a:pt x="55" y="162"/>
                  </a:lnTo>
                  <a:lnTo>
                    <a:pt x="28" y="153"/>
                  </a:lnTo>
                  <a:lnTo>
                    <a:pt x="24" y="135"/>
                  </a:lnTo>
                  <a:lnTo>
                    <a:pt x="55" y="118"/>
                  </a:lnTo>
                  <a:lnTo>
                    <a:pt x="93" y="63"/>
                  </a:lnTo>
                  <a:lnTo>
                    <a:pt x="72" y="73"/>
                  </a:lnTo>
                  <a:lnTo>
                    <a:pt x="24" y="63"/>
                  </a:lnTo>
                  <a:lnTo>
                    <a:pt x="75" y="32"/>
                  </a:lnTo>
                  <a:lnTo>
                    <a:pt x="75" y="15"/>
                  </a:lnTo>
                  <a:lnTo>
                    <a:pt x="86" y="0"/>
                  </a:lnTo>
                  <a:lnTo>
                    <a:pt x="121" y="35"/>
                  </a:lnTo>
                  <a:lnTo>
                    <a:pt x="121" y="56"/>
                  </a:lnTo>
                  <a:lnTo>
                    <a:pt x="96" y="87"/>
                  </a:lnTo>
                  <a:lnTo>
                    <a:pt x="121" y="118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1" name="Freeform 35">
              <a:extLst>
                <a:ext uri="{FF2B5EF4-FFF2-40B4-BE49-F238E27FC236}">
                  <a16:creationId xmlns:a16="http://schemas.microsoft.com/office/drawing/2014/main" id="{358381F6-F4E1-40E1-BE92-634D24CCE429}"/>
                </a:ext>
              </a:extLst>
            </p:cNvPr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3426048" y="3126732"/>
              <a:ext cx="36556" cy="53615"/>
            </a:xfrm>
            <a:custGeom>
              <a:avLst/>
              <a:gdLst/>
              <a:ahLst/>
              <a:cxnLst>
                <a:cxn ang="0">
                  <a:pos x="148" y="114"/>
                </a:cxn>
                <a:cxn ang="0">
                  <a:pos x="151" y="124"/>
                </a:cxn>
                <a:cxn ang="0">
                  <a:pos x="137" y="145"/>
                </a:cxn>
                <a:cxn ang="0">
                  <a:pos x="124" y="124"/>
                </a:cxn>
                <a:cxn ang="0">
                  <a:pos x="117" y="159"/>
                </a:cxn>
                <a:cxn ang="0">
                  <a:pos x="85" y="100"/>
                </a:cxn>
                <a:cxn ang="0">
                  <a:pos x="76" y="107"/>
                </a:cxn>
                <a:cxn ang="0">
                  <a:pos x="114" y="175"/>
                </a:cxn>
                <a:cxn ang="0">
                  <a:pos x="79" y="221"/>
                </a:cxn>
                <a:cxn ang="0">
                  <a:pos x="58" y="114"/>
                </a:cxn>
                <a:cxn ang="0">
                  <a:pos x="41" y="131"/>
                </a:cxn>
                <a:cxn ang="0">
                  <a:pos x="27" y="169"/>
                </a:cxn>
                <a:cxn ang="0">
                  <a:pos x="7" y="172"/>
                </a:cxn>
                <a:cxn ang="0">
                  <a:pos x="0" y="145"/>
                </a:cxn>
                <a:cxn ang="0">
                  <a:pos x="10" y="145"/>
                </a:cxn>
                <a:cxn ang="0">
                  <a:pos x="17" y="69"/>
                </a:cxn>
                <a:cxn ang="0">
                  <a:pos x="35" y="41"/>
                </a:cxn>
                <a:cxn ang="0">
                  <a:pos x="35" y="62"/>
                </a:cxn>
                <a:cxn ang="0">
                  <a:pos x="44" y="52"/>
                </a:cxn>
                <a:cxn ang="0">
                  <a:pos x="58" y="10"/>
                </a:cxn>
                <a:cxn ang="0">
                  <a:pos x="69" y="0"/>
                </a:cxn>
                <a:cxn ang="0">
                  <a:pos x="58" y="24"/>
                </a:cxn>
                <a:cxn ang="0">
                  <a:pos x="114" y="18"/>
                </a:cxn>
                <a:cxn ang="0">
                  <a:pos x="117" y="73"/>
                </a:cxn>
                <a:cxn ang="0">
                  <a:pos x="148" y="114"/>
                </a:cxn>
              </a:cxnLst>
              <a:rect l="0" t="0" r="r" b="b"/>
              <a:pathLst>
                <a:path w="151" h="221">
                  <a:moveTo>
                    <a:pt x="148" y="114"/>
                  </a:moveTo>
                  <a:lnTo>
                    <a:pt x="151" y="124"/>
                  </a:lnTo>
                  <a:lnTo>
                    <a:pt x="137" y="145"/>
                  </a:lnTo>
                  <a:lnTo>
                    <a:pt x="124" y="124"/>
                  </a:lnTo>
                  <a:lnTo>
                    <a:pt x="117" y="159"/>
                  </a:lnTo>
                  <a:lnTo>
                    <a:pt x="85" y="100"/>
                  </a:lnTo>
                  <a:lnTo>
                    <a:pt x="76" y="107"/>
                  </a:lnTo>
                  <a:lnTo>
                    <a:pt x="114" y="175"/>
                  </a:lnTo>
                  <a:lnTo>
                    <a:pt x="79" y="221"/>
                  </a:lnTo>
                  <a:lnTo>
                    <a:pt x="58" y="114"/>
                  </a:lnTo>
                  <a:lnTo>
                    <a:pt x="41" y="131"/>
                  </a:lnTo>
                  <a:lnTo>
                    <a:pt x="27" y="169"/>
                  </a:lnTo>
                  <a:lnTo>
                    <a:pt x="7" y="172"/>
                  </a:lnTo>
                  <a:lnTo>
                    <a:pt x="0" y="145"/>
                  </a:lnTo>
                  <a:lnTo>
                    <a:pt x="10" y="145"/>
                  </a:lnTo>
                  <a:lnTo>
                    <a:pt x="17" y="69"/>
                  </a:lnTo>
                  <a:lnTo>
                    <a:pt x="35" y="41"/>
                  </a:lnTo>
                  <a:lnTo>
                    <a:pt x="35" y="62"/>
                  </a:lnTo>
                  <a:lnTo>
                    <a:pt x="44" y="52"/>
                  </a:lnTo>
                  <a:lnTo>
                    <a:pt x="58" y="10"/>
                  </a:lnTo>
                  <a:lnTo>
                    <a:pt x="69" y="0"/>
                  </a:lnTo>
                  <a:lnTo>
                    <a:pt x="58" y="24"/>
                  </a:lnTo>
                  <a:lnTo>
                    <a:pt x="114" y="18"/>
                  </a:lnTo>
                  <a:lnTo>
                    <a:pt x="117" y="73"/>
                  </a:lnTo>
                  <a:lnTo>
                    <a:pt x="148" y="114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2" name="Freeform 37">
              <a:extLst>
                <a:ext uri="{FF2B5EF4-FFF2-40B4-BE49-F238E27FC236}">
                  <a16:creationId xmlns:a16="http://schemas.microsoft.com/office/drawing/2014/main" id="{D3A9F62E-1BEB-467F-B334-263BE1F8B78E}"/>
                </a:ext>
              </a:extLst>
            </p:cNvPr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3445544" y="3214465"/>
              <a:ext cx="24370" cy="36556"/>
            </a:xfrm>
            <a:custGeom>
              <a:avLst/>
              <a:gdLst/>
              <a:ahLst/>
              <a:cxnLst>
                <a:cxn ang="0">
                  <a:pos x="41" y="41"/>
                </a:cxn>
                <a:cxn ang="0">
                  <a:pos x="37" y="0"/>
                </a:cxn>
                <a:cxn ang="0">
                  <a:pos x="51" y="0"/>
                </a:cxn>
                <a:cxn ang="0">
                  <a:pos x="102" y="71"/>
                </a:cxn>
                <a:cxn ang="0">
                  <a:pos x="99" y="96"/>
                </a:cxn>
                <a:cxn ang="0">
                  <a:pos x="72" y="137"/>
                </a:cxn>
                <a:cxn ang="0">
                  <a:pos x="61" y="93"/>
                </a:cxn>
                <a:cxn ang="0">
                  <a:pos x="37" y="154"/>
                </a:cxn>
                <a:cxn ang="0">
                  <a:pos x="0" y="131"/>
                </a:cxn>
                <a:cxn ang="0">
                  <a:pos x="41" y="55"/>
                </a:cxn>
                <a:cxn ang="0">
                  <a:pos x="30" y="38"/>
                </a:cxn>
                <a:cxn ang="0">
                  <a:pos x="41" y="41"/>
                </a:cxn>
              </a:cxnLst>
              <a:rect l="0" t="0" r="r" b="b"/>
              <a:pathLst>
                <a:path w="102" h="154">
                  <a:moveTo>
                    <a:pt x="41" y="41"/>
                  </a:moveTo>
                  <a:lnTo>
                    <a:pt x="37" y="0"/>
                  </a:lnTo>
                  <a:lnTo>
                    <a:pt x="51" y="0"/>
                  </a:lnTo>
                  <a:lnTo>
                    <a:pt x="102" y="71"/>
                  </a:lnTo>
                  <a:lnTo>
                    <a:pt x="99" y="96"/>
                  </a:lnTo>
                  <a:lnTo>
                    <a:pt x="72" y="137"/>
                  </a:lnTo>
                  <a:lnTo>
                    <a:pt x="61" y="93"/>
                  </a:lnTo>
                  <a:lnTo>
                    <a:pt x="37" y="154"/>
                  </a:lnTo>
                  <a:lnTo>
                    <a:pt x="0" y="131"/>
                  </a:lnTo>
                  <a:lnTo>
                    <a:pt x="41" y="55"/>
                  </a:lnTo>
                  <a:lnTo>
                    <a:pt x="30" y="38"/>
                  </a:lnTo>
                  <a:lnTo>
                    <a:pt x="41" y="41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3" name="Freeform 38">
              <a:extLst>
                <a:ext uri="{FF2B5EF4-FFF2-40B4-BE49-F238E27FC236}">
                  <a16:creationId xmlns:a16="http://schemas.microsoft.com/office/drawing/2014/main" id="{55714A71-A80C-493C-8B9B-898A29B9C356}"/>
                </a:ext>
              </a:extLst>
            </p:cNvPr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3445544" y="3214465"/>
              <a:ext cx="24370" cy="36556"/>
            </a:xfrm>
            <a:custGeom>
              <a:avLst/>
              <a:gdLst/>
              <a:ahLst/>
              <a:cxnLst>
                <a:cxn ang="0">
                  <a:pos x="41" y="41"/>
                </a:cxn>
                <a:cxn ang="0">
                  <a:pos x="37" y="0"/>
                </a:cxn>
                <a:cxn ang="0">
                  <a:pos x="51" y="0"/>
                </a:cxn>
                <a:cxn ang="0">
                  <a:pos x="102" y="71"/>
                </a:cxn>
                <a:cxn ang="0">
                  <a:pos x="99" y="96"/>
                </a:cxn>
                <a:cxn ang="0">
                  <a:pos x="72" y="137"/>
                </a:cxn>
                <a:cxn ang="0">
                  <a:pos x="61" y="93"/>
                </a:cxn>
                <a:cxn ang="0">
                  <a:pos x="37" y="154"/>
                </a:cxn>
                <a:cxn ang="0">
                  <a:pos x="0" y="131"/>
                </a:cxn>
                <a:cxn ang="0">
                  <a:pos x="41" y="55"/>
                </a:cxn>
                <a:cxn ang="0">
                  <a:pos x="30" y="38"/>
                </a:cxn>
                <a:cxn ang="0">
                  <a:pos x="41" y="41"/>
                </a:cxn>
              </a:cxnLst>
              <a:rect l="0" t="0" r="r" b="b"/>
              <a:pathLst>
                <a:path w="102" h="154">
                  <a:moveTo>
                    <a:pt x="41" y="41"/>
                  </a:moveTo>
                  <a:lnTo>
                    <a:pt x="37" y="0"/>
                  </a:lnTo>
                  <a:lnTo>
                    <a:pt x="51" y="0"/>
                  </a:lnTo>
                  <a:lnTo>
                    <a:pt x="102" y="71"/>
                  </a:lnTo>
                  <a:lnTo>
                    <a:pt x="99" y="96"/>
                  </a:lnTo>
                  <a:lnTo>
                    <a:pt x="72" y="137"/>
                  </a:lnTo>
                  <a:lnTo>
                    <a:pt x="61" y="93"/>
                  </a:lnTo>
                  <a:lnTo>
                    <a:pt x="37" y="154"/>
                  </a:lnTo>
                  <a:lnTo>
                    <a:pt x="0" y="131"/>
                  </a:lnTo>
                  <a:lnTo>
                    <a:pt x="41" y="55"/>
                  </a:lnTo>
                  <a:lnTo>
                    <a:pt x="30" y="38"/>
                  </a:lnTo>
                  <a:lnTo>
                    <a:pt x="41" y="41"/>
                  </a:lnTo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4" name="Freeform 39">
              <a:extLst>
                <a:ext uri="{FF2B5EF4-FFF2-40B4-BE49-F238E27FC236}">
                  <a16:creationId xmlns:a16="http://schemas.microsoft.com/office/drawing/2014/main" id="{FF9ABA1A-FA75-40B4-BDBB-599ECF73D27A}"/>
                </a:ext>
              </a:extLst>
            </p:cNvPr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3424829" y="3214465"/>
              <a:ext cx="24370" cy="37773"/>
            </a:xfrm>
            <a:custGeom>
              <a:avLst/>
              <a:gdLst/>
              <a:ahLst/>
              <a:cxnLst>
                <a:cxn ang="0">
                  <a:pos x="51" y="55"/>
                </a:cxn>
                <a:cxn ang="0">
                  <a:pos x="45" y="21"/>
                </a:cxn>
                <a:cxn ang="0">
                  <a:pos x="59" y="0"/>
                </a:cxn>
                <a:cxn ang="0">
                  <a:pos x="80" y="7"/>
                </a:cxn>
                <a:cxn ang="0">
                  <a:pos x="80" y="44"/>
                </a:cxn>
                <a:cxn ang="0">
                  <a:pos x="100" y="52"/>
                </a:cxn>
                <a:cxn ang="0">
                  <a:pos x="80" y="82"/>
                </a:cxn>
                <a:cxn ang="0">
                  <a:pos x="65" y="65"/>
                </a:cxn>
                <a:cxn ang="0">
                  <a:pos x="37" y="120"/>
                </a:cxn>
                <a:cxn ang="0">
                  <a:pos x="4" y="155"/>
                </a:cxn>
                <a:cxn ang="0">
                  <a:pos x="14" y="131"/>
                </a:cxn>
                <a:cxn ang="0">
                  <a:pos x="14" y="117"/>
                </a:cxn>
                <a:cxn ang="0">
                  <a:pos x="0" y="131"/>
                </a:cxn>
                <a:cxn ang="0">
                  <a:pos x="4" y="110"/>
                </a:cxn>
                <a:cxn ang="0">
                  <a:pos x="20" y="82"/>
                </a:cxn>
                <a:cxn ang="0">
                  <a:pos x="28" y="93"/>
                </a:cxn>
                <a:cxn ang="0">
                  <a:pos x="48" y="79"/>
                </a:cxn>
                <a:cxn ang="0">
                  <a:pos x="42" y="55"/>
                </a:cxn>
                <a:cxn ang="0">
                  <a:pos x="51" y="55"/>
                </a:cxn>
              </a:cxnLst>
              <a:rect l="0" t="0" r="r" b="b"/>
              <a:pathLst>
                <a:path w="100" h="155">
                  <a:moveTo>
                    <a:pt x="51" y="55"/>
                  </a:moveTo>
                  <a:lnTo>
                    <a:pt x="45" y="21"/>
                  </a:lnTo>
                  <a:lnTo>
                    <a:pt x="59" y="0"/>
                  </a:lnTo>
                  <a:lnTo>
                    <a:pt x="80" y="7"/>
                  </a:lnTo>
                  <a:lnTo>
                    <a:pt x="80" y="44"/>
                  </a:lnTo>
                  <a:lnTo>
                    <a:pt x="100" y="52"/>
                  </a:lnTo>
                  <a:lnTo>
                    <a:pt x="80" y="82"/>
                  </a:lnTo>
                  <a:lnTo>
                    <a:pt x="65" y="65"/>
                  </a:lnTo>
                  <a:lnTo>
                    <a:pt x="37" y="120"/>
                  </a:lnTo>
                  <a:lnTo>
                    <a:pt x="4" y="155"/>
                  </a:lnTo>
                  <a:lnTo>
                    <a:pt x="14" y="131"/>
                  </a:lnTo>
                  <a:lnTo>
                    <a:pt x="14" y="117"/>
                  </a:lnTo>
                  <a:lnTo>
                    <a:pt x="0" y="131"/>
                  </a:lnTo>
                  <a:lnTo>
                    <a:pt x="4" y="110"/>
                  </a:lnTo>
                  <a:lnTo>
                    <a:pt x="20" y="82"/>
                  </a:lnTo>
                  <a:lnTo>
                    <a:pt x="28" y="93"/>
                  </a:lnTo>
                  <a:lnTo>
                    <a:pt x="48" y="79"/>
                  </a:lnTo>
                  <a:lnTo>
                    <a:pt x="42" y="55"/>
                  </a:lnTo>
                  <a:lnTo>
                    <a:pt x="51" y="55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5" name="Freeform 40">
              <a:extLst>
                <a:ext uri="{FF2B5EF4-FFF2-40B4-BE49-F238E27FC236}">
                  <a16:creationId xmlns:a16="http://schemas.microsoft.com/office/drawing/2014/main" id="{8253C017-C455-4A83-9608-599A85B0FB04}"/>
                </a:ext>
              </a:extLst>
            </p:cNvPr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3424829" y="3214465"/>
              <a:ext cx="24370" cy="37773"/>
            </a:xfrm>
            <a:custGeom>
              <a:avLst/>
              <a:gdLst/>
              <a:ahLst/>
              <a:cxnLst>
                <a:cxn ang="0">
                  <a:pos x="51" y="55"/>
                </a:cxn>
                <a:cxn ang="0">
                  <a:pos x="45" y="21"/>
                </a:cxn>
                <a:cxn ang="0">
                  <a:pos x="59" y="0"/>
                </a:cxn>
                <a:cxn ang="0">
                  <a:pos x="80" y="7"/>
                </a:cxn>
                <a:cxn ang="0">
                  <a:pos x="80" y="44"/>
                </a:cxn>
                <a:cxn ang="0">
                  <a:pos x="100" y="52"/>
                </a:cxn>
                <a:cxn ang="0">
                  <a:pos x="80" y="82"/>
                </a:cxn>
                <a:cxn ang="0">
                  <a:pos x="65" y="65"/>
                </a:cxn>
                <a:cxn ang="0">
                  <a:pos x="37" y="120"/>
                </a:cxn>
                <a:cxn ang="0">
                  <a:pos x="4" y="155"/>
                </a:cxn>
                <a:cxn ang="0">
                  <a:pos x="14" y="131"/>
                </a:cxn>
                <a:cxn ang="0">
                  <a:pos x="14" y="117"/>
                </a:cxn>
                <a:cxn ang="0">
                  <a:pos x="0" y="131"/>
                </a:cxn>
                <a:cxn ang="0">
                  <a:pos x="4" y="110"/>
                </a:cxn>
                <a:cxn ang="0">
                  <a:pos x="20" y="82"/>
                </a:cxn>
                <a:cxn ang="0">
                  <a:pos x="28" y="93"/>
                </a:cxn>
                <a:cxn ang="0">
                  <a:pos x="48" y="79"/>
                </a:cxn>
                <a:cxn ang="0">
                  <a:pos x="42" y="55"/>
                </a:cxn>
                <a:cxn ang="0">
                  <a:pos x="51" y="55"/>
                </a:cxn>
              </a:cxnLst>
              <a:rect l="0" t="0" r="r" b="b"/>
              <a:pathLst>
                <a:path w="100" h="155">
                  <a:moveTo>
                    <a:pt x="51" y="55"/>
                  </a:moveTo>
                  <a:lnTo>
                    <a:pt x="45" y="21"/>
                  </a:lnTo>
                  <a:lnTo>
                    <a:pt x="59" y="0"/>
                  </a:lnTo>
                  <a:lnTo>
                    <a:pt x="80" y="7"/>
                  </a:lnTo>
                  <a:lnTo>
                    <a:pt x="80" y="44"/>
                  </a:lnTo>
                  <a:lnTo>
                    <a:pt x="100" y="52"/>
                  </a:lnTo>
                  <a:lnTo>
                    <a:pt x="80" y="82"/>
                  </a:lnTo>
                  <a:lnTo>
                    <a:pt x="65" y="65"/>
                  </a:lnTo>
                  <a:lnTo>
                    <a:pt x="37" y="120"/>
                  </a:lnTo>
                  <a:lnTo>
                    <a:pt x="4" y="155"/>
                  </a:lnTo>
                  <a:lnTo>
                    <a:pt x="14" y="131"/>
                  </a:lnTo>
                  <a:lnTo>
                    <a:pt x="14" y="117"/>
                  </a:lnTo>
                  <a:lnTo>
                    <a:pt x="0" y="131"/>
                  </a:lnTo>
                  <a:lnTo>
                    <a:pt x="4" y="110"/>
                  </a:lnTo>
                  <a:lnTo>
                    <a:pt x="20" y="82"/>
                  </a:lnTo>
                  <a:lnTo>
                    <a:pt x="28" y="93"/>
                  </a:lnTo>
                  <a:lnTo>
                    <a:pt x="48" y="79"/>
                  </a:lnTo>
                  <a:lnTo>
                    <a:pt x="42" y="55"/>
                  </a:lnTo>
                  <a:lnTo>
                    <a:pt x="51" y="55"/>
                  </a:lnTo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6" name="Freeform 41">
              <a:extLst>
                <a:ext uri="{FF2B5EF4-FFF2-40B4-BE49-F238E27FC236}">
                  <a16:creationId xmlns:a16="http://schemas.microsoft.com/office/drawing/2014/main" id="{5196F860-727B-44C8-BF7D-52DE3B92B807}"/>
                </a:ext>
              </a:extLst>
            </p:cNvPr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3441889" y="3157194"/>
              <a:ext cx="41429" cy="48740"/>
            </a:xfrm>
            <a:custGeom>
              <a:avLst/>
              <a:gdLst/>
              <a:ahLst/>
              <a:cxnLst>
                <a:cxn ang="0">
                  <a:pos x="66" y="99"/>
                </a:cxn>
                <a:cxn ang="0">
                  <a:pos x="63" y="113"/>
                </a:cxn>
                <a:cxn ang="0">
                  <a:pos x="55" y="120"/>
                </a:cxn>
                <a:cxn ang="0">
                  <a:pos x="55" y="148"/>
                </a:cxn>
                <a:cxn ang="0">
                  <a:pos x="35" y="141"/>
                </a:cxn>
                <a:cxn ang="0">
                  <a:pos x="0" y="175"/>
                </a:cxn>
                <a:cxn ang="0">
                  <a:pos x="0" y="192"/>
                </a:cxn>
                <a:cxn ang="0">
                  <a:pos x="11" y="196"/>
                </a:cxn>
                <a:cxn ang="0">
                  <a:pos x="49" y="175"/>
                </a:cxn>
                <a:cxn ang="0">
                  <a:pos x="52" y="192"/>
                </a:cxn>
                <a:cxn ang="0">
                  <a:pos x="72" y="165"/>
                </a:cxn>
                <a:cxn ang="0">
                  <a:pos x="86" y="185"/>
                </a:cxn>
                <a:cxn ang="0">
                  <a:pos x="93" y="158"/>
                </a:cxn>
                <a:cxn ang="0">
                  <a:pos x="107" y="162"/>
                </a:cxn>
                <a:cxn ang="0">
                  <a:pos x="121" y="82"/>
                </a:cxn>
                <a:cxn ang="0">
                  <a:pos x="138" y="52"/>
                </a:cxn>
                <a:cxn ang="0">
                  <a:pos x="148" y="47"/>
                </a:cxn>
                <a:cxn ang="0">
                  <a:pos x="124" y="158"/>
                </a:cxn>
                <a:cxn ang="0">
                  <a:pos x="152" y="96"/>
                </a:cxn>
                <a:cxn ang="0">
                  <a:pos x="162" y="34"/>
                </a:cxn>
                <a:cxn ang="0">
                  <a:pos x="152" y="20"/>
                </a:cxn>
                <a:cxn ang="0">
                  <a:pos x="124" y="0"/>
                </a:cxn>
                <a:cxn ang="0">
                  <a:pos x="104" y="9"/>
                </a:cxn>
                <a:cxn ang="0">
                  <a:pos x="76" y="52"/>
                </a:cxn>
                <a:cxn ang="0">
                  <a:pos x="66" y="99"/>
                </a:cxn>
              </a:cxnLst>
              <a:rect l="0" t="0" r="r" b="b"/>
              <a:pathLst>
                <a:path w="162" h="196">
                  <a:moveTo>
                    <a:pt x="66" y="99"/>
                  </a:moveTo>
                  <a:lnTo>
                    <a:pt x="63" y="113"/>
                  </a:lnTo>
                  <a:lnTo>
                    <a:pt x="55" y="120"/>
                  </a:lnTo>
                  <a:lnTo>
                    <a:pt x="55" y="148"/>
                  </a:lnTo>
                  <a:lnTo>
                    <a:pt x="35" y="141"/>
                  </a:lnTo>
                  <a:lnTo>
                    <a:pt x="0" y="175"/>
                  </a:lnTo>
                  <a:lnTo>
                    <a:pt x="0" y="192"/>
                  </a:lnTo>
                  <a:lnTo>
                    <a:pt x="11" y="196"/>
                  </a:lnTo>
                  <a:lnTo>
                    <a:pt x="49" y="175"/>
                  </a:lnTo>
                  <a:lnTo>
                    <a:pt x="52" y="192"/>
                  </a:lnTo>
                  <a:lnTo>
                    <a:pt x="72" y="165"/>
                  </a:lnTo>
                  <a:lnTo>
                    <a:pt x="86" y="185"/>
                  </a:lnTo>
                  <a:lnTo>
                    <a:pt x="93" y="158"/>
                  </a:lnTo>
                  <a:lnTo>
                    <a:pt x="107" y="162"/>
                  </a:lnTo>
                  <a:lnTo>
                    <a:pt x="121" y="82"/>
                  </a:lnTo>
                  <a:lnTo>
                    <a:pt x="138" y="52"/>
                  </a:lnTo>
                  <a:lnTo>
                    <a:pt x="148" y="47"/>
                  </a:lnTo>
                  <a:lnTo>
                    <a:pt x="124" y="158"/>
                  </a:lnTo>
                  <a:lnTo>
                    <a:pt x="152" y="96"/>
                  </a:lnTo>
                  <a:lnTo>
                    <a:pt x="162" y="34"/>
                  </a:lnTo>
                  <a:lnTo>
                    <a:pt x="152" y="20"/>
                  </a:lnTo>
                  <a:lnTo>
                    <a:pt x="124" y="0"/>
                  </a:lnTo>
                  <a:lnTo>
                    <a:pt x="104" y="9"/>
                  </a:lnTo>
                  <a:lnTo>
                    <a:pt x="76" y="52"/>
                  </a:lnTo>
                  <a:lnTo>
                    <a:pt x="66" y="99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7" name="Freeform 43">
              <a:extLst>
                <a:ext uri="{FF2B5EF4-FFF2-40B4-BE49-F238E27FC236}">
                  <a16:creationId xmlns:a16="http://schemas.microsoft.com/office/drawing/2014/main" id="{0CE965D3-C4FC-4B9D-948D-B39FA9A315D3}"/>
                </a:ext>
              </a:extLst>
            </p:cNvPr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3408989" y="3169379"/>
              <a:ext cx="32900" cy="65799"/>
            </a:xfrm>
            <a:custGeom>
              <a:avLst/>
              <a:gdLst/>
              <a:ahLst/>
              <a:cxnLst>
                <a:cxn ang="0">
                  <a:pos x="128" y="83"/>
                </a:cxn>
                <a:cxn ang="0">
                  <a:pos x="121" y="107"/>
                </a:cxn>
                <a:cxn ang="0">
                  <a:pos x="107" y="121"/>
                </a:cxn>
                <a:cxn ang="0">
                  <a:pos x="104" y="142"/>
                </a:cxn>
                <a:cxn ang="0">
                  <a:pos x="87" y="159"/>
                </a:cxn>
                <a:cxn ang="0">
                  <a:pos x="63" y="214"/>
                </a:cxn>
                <a:cxn ang="0">
                  <a:pos x="8" y="269"/>
                </a:cxn>
                <a:cxn ang="0">
                  <a:pos x="0" y="266"/>
                </a:cxn>
                <a:cxn ang="0">
                  <a:pos x="18" y="242"/>
                </a:cxn>
                <a:cxn ang="0">
                  <a:pos x="28" y="190"/>
                </a:cxn>
                <a:cxn ang="0">
                  <a:pos x="55" y="170"/>
                </a:cxn>
                <a:cxn ang="0">
                  <a:pos x="41" y="167"/>
                </a:cxn>
                <a:cxn ang="0">
                  <a:pos x="41" y="115"/>
                </a:cxn>
                <a:cxn ang="0">
                  <a:pos x="76" y="90"/>
                </a:cxn>
                <a:cxn ang="0">
                  <a:pos x="79" y="22"/>
                </a:cxn>
                <a:cxn ang="0">
                  <a:pos x="114" y="0"/>
                </a:cxn>
                <a:cxn ang="0">
                  <a:pos x="128" y="83"/>
                </a:cxn>
              </a:cxnLst>
              <a:rect l="0" t="0" r="r" b="b"/>
              <a:pathLst>
                <a:path w="128" h="269">
                  <a:moveTo>
                    <a:pt x="128" y="83"/>
                  </a:moveTo>
                  <a:lnTo>
                    <a:pt x="121" y="107"/>
                  </a:lnTo>
                  <a:lnTo>
                    <a:pt x="107" y="121"/>
                  </a:lnTo>
                  <a:lnTo>
                    <a:pt x="104" y="142"/>
                  </a:lnTo>
                  <a:lnTo>
                    <a:pt x="87" y="159"/>
                  </a:lnTo>
                  <a:lnTo>
                    <a:pt x="63" y="214"/>
                  </a:lnTo>
                  <a:lnTo>
                    <a:pt x="8" y="269"/>
                  </a:lnTo>
                  <a:lnTo>
                    <a:pt x="0" y="266"/>
                  </a:lnTo>
                  <a:lnTo>
                    <a:pt x="18" y="242"/>
                  </a:lnTo>
                  <a:lnTo>
                    <a:pt x="28" y="190"/>
                  </a:lnTo>
                  <a:lnTo>
                    <a:pt x="55" y="170"/>
                  </a:lnTo>
                  <a:lnTo>
                    <a:pt x="41" y="167"/>
                  </a:lnTo>
                  <a:lnTo>
                    <a:pt x="41" y="115"/>
                  </a:lnTo>
                  <a:lnTo>
                    <a:pt x="76" y="90"/>
                  </a:lnTo>
                  <a:lnTo>
                    <a:pt x="79" y="22"/>
                  </a:lnTo>
                  <a:lnTo>
                    <a:pt x="114" y="0"/>
                  </a:lnTo>
                  <a:lnTo>
                    <a:pt x="128" y="83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8" name="Freeform 45">
              <a:extLst>
                <a:ext uri="{FF2B5EF4-FFF2-40B4-BE49-F238E27FC236}">
                  <a16:creationId xmlns:a16="http://schemas.microsoft.com/office/drawing/2014/main" id="{C1E8DD01-0358-421E-862D-BBB03CAC2533}"/>
                </a:ext>
              </a:extLst>
            </p:cNvPr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3340752" y="2848912"/>
              <a:ext cx="8530" cy="12186"/>
            </a:xfrm>
            <a:custGeom>
              <a:avLst/>
              <a:gdLst/>
              <a:ahLst/>
              <a:cxnLst>
                <a:cxn ang="0">
                  <a:pos x="3" y="8"/>
                </a:cxn>
                <a:cxn ang="0">
                  <a:pos x="31" y="0"/>
                </a:cxn>
                <a:cxn ang="0">
                  <a:pos x="41" y="49"/>
                </a:cxn>
                <a:cxn ang="0">
                  <a:pos x="0" y="31"/>
                </a:cxn>
                <a:cxn ang="0">
                  <a:pos x="3" y="8"/>
                </a:cxn>
              </a:cxnLst>
              <a:rect l="0" t="0" r="r" b="b"/>
              <a:pathLst>
                <a:path w="41" h="49">
                  <a:moveTo>
                    <a:pt x="3" y="8"/>
                  </a:moveTo>
                  <a:lnTo>
                    <a:pt x="31" y="0"/>
                  </a:lnTo>
                  <a:lnTo>
                    <a:pt x="41" y="49"/>
                  </a:lnTo>
                  <a:lnTo>
                    <a:pt x="0" y="31"/>
                  </a:lnTo>
                  <a:lnTo>
                    <a:pt x="3" y="8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9" name="Freeform 47">
              <a:extLst>
                <a:ext uri="{FF2B5EF4-FFF2-40B4-BE49-F238E27FC236}">
                  <a16:creationId xmlns:a16="http://schemas.microsoft.com/office/drawing/2014/main" id="{BBF0B9B4-F2DC-4EC1-9BAE-50EE68754B53}"/>
                </a:ext>
              </a:extLst>
            </p:cNvPr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3094613" y="2378566"/>
              <a:ext cx="26807" cy="52395"/>
            </a:xfrm>
            <a:custGeom>
              <a:avLst/>
              <a:gdLst/>
              <a:ahLst/>
              <a:cxnLst>
                <a:cxn ang="0">
                  <a:pos x="55" y="0"/>
                </a:cxn>
                <a:cxn ang="0">
                  <a:pos x="72" y="69"/>
                </a:cxn>
                <a:cxn ang="0">
                  <a:pos x="113" y="124"/>
                </a:cxn>
                <a:cxn ang="0">
                  <a:pos x="110" y="186"/>
                </a:cxn>
                <a:cxn ang="0">
                  <a:pos x="69" y="200"/>
                </a:cxn>
                <a:cxn ang="0">
                  <a:pos x="62" y="214"/>
                </a:cxn>
                <a:cxn ang="0">
                  <a:pos x="31" y="179"/>
                </a:cxn>
                <a:cxn ang="0">
                  <a:pos x="0" y="173"/>
                </a:cxn>
                <a:cxn ang="0">
                  <a:pos x="10" y="55"/>
                </a:cxn>
                <a:cxn ang="0">
                  <a:pos x="28" y="20"/>
                </a:cxn>
                <a:cxn ang="0">
                  <a:pos x="55" y="0"/>
                </a:cxn>
              </a:cxnLst>
              <a:rect l="0" t="0" r="r" b="b"/>
              <a:pathLst>
                <a:path w="113" h="214">
                  <a:moveTo>
                    <a:pt x="55" y="0"/>
                  </a:moveTo>
                  <a:lnTo>
                    <a:pt x="72" y="69"/>
                  </a:lnTo>
                  <a:lnTo>
                    <a:pt x="113" y="124"/>
                  </a:lnTo>
                  <a:lnTo>
                    <a:pt x="110" y="186"/>
                  </a:lnTo>
                  <a:lnTo>
                    <a:pt x="69" y="200"/>
                  </a:lnTo>
                  <a:lnTo>
                    <a:pt x="62" y="214"/>
                  </a:lnTo>
                  <a:lnTo>
                    <a:pt x="31" y="179"/>
                  </a:lnTo>
                  <a:lnTo>
                    <a:pt x="0" y="173"/>
                  </a:lnTo>
                  <a:lnTo>
                    <a:pt x="10" y="55"/>
                  </a:lnTo>
                  <a:lnTo>
                    <a:pt x="28" y="20"/>
                  </a:lnTo>
                  <a:lnTo>
                    <a:pt x="55" y="0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0" name="Freeform 49">
              <a:extLst>
                <a:ext uri="{FF2B5EF4-FFF2-40B4-BE49-F238E27FC236}">
                  <a16:creationId xmlns:a16="http://schemas.microsoft.com/office/drawing/2014/main" id="{DF9F1C2A-22B0-4C38-92FF-02A097E291E0}"/>
                </a:ext>
              </a:extLst>
            </p:cNvPr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3132387" y="2426088"/>
              <a:ext cx="20715" cy="26807"/>
            </a:xfrm>
            <a:custGeom>
              <a:avLst/>
              <a:gdLst/>
              <a:ahLst/>
              <a:cxnLst>
                <a:cxn ang="0">
                  <a:pos x="35" y="0"/>
                </a:cxn>
                <a:cxn ang="0">
                  <a:pos x="82" y="24"/>
                </a:cxn>
                <a:cxn ang="0">
                  <a:pos x="82" y="90"/>
                </a:cxn>
                <a:cxn ang="0">
                  <a:pos x="58" y="110"/>
                </a:cxn>
                <a:cxn ang="0">
                  <a:pos x="0" y="87"/>
                </a:cxn>
                <a:cxn ang="0">
                  <a:pos x="35" y="52"/>
                </a:cxn>
                <a:cxn ang="0">
                  <a:pos x="35" y="0"/>
                </a:cxn>
              </a:cxnLst>
              <a:rect l="0" t="0" r="r" b="b"/>
              <a:pathLst>
                <a:path w="82" h="110">
                  <a:moveTo>
                    <a:pt x="35" y="0"/>
                  </a:moveTo>
                  <a:lnTo>
                    <a:pt x="82" y="24"/>
                  </a:lnTo>
                  <a:lnTo>
                    <a:pt x="82" y="90"/>
                  </a:lnTo>
                  <a:lnTo>
                    <a:pt x="58" y="110"/>
                  </a:lnTo>
                  <a:lnTo>
                    <a:pt x="0" y="87"/>
                  </a:lnTo>
                  <a:lnTo>
                    <a:pt x="35" y="52"/>
                  </a:lnTo>
                  <a:lnTo>
                    <a:pt x="35" y="0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1" name="Freeform 51">
              <a:extLst>
                <a:ext uri="{FF2B5EF4-FFF2-40B4-BE49-F238E27FC236}">
                  <a16:creationId xmlns:a16="http://schemas.microsoft.com/office/drawing/2014/main" id="{F8170754-F0BA-403F-98F0-7BA527E226E5}"/>
                </a:ext>
              </a:extLst>
            </p:cNvPr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3289574" y="3748172"/>
              <a:ext cx="2098276" cy="1357421"/>
            </a:xfrm>
            <a:custGeom>
              <a:avLst/>
              <a:gdLst/>
              <a:ahLst/>
              <a:cxnLst>
                <a:cxn ang="0">
                  <a:pos x="4915" y="1416"/>
                </a:cxn>
                <a:cxn ang="0">
                  <a:pos x="5236" y="1378"/>
                </a:cxn>
                <a:cxn ang="0">
                  <a:pos x="5701" y="1399"/>
                </a:cxn>
                <a:cxn ang="0">
                  <a:pos x="5746" y="1529"/>
                </a:cxn>
                <a:cxn ang="0">
                  <a:pos x="5335" y="1756"/>
                </a:cxn>
                <a:cxn ang="0">
                  <a:pos x="5335" y="2066"/>
                </a:cxn>
                <a:cxn ang="0">
                  <a:pos x="5525" y="1973"/>
                </a:cxn>
                <a:cxn ang="0">
                  <a:pos x="5670" y="1654"/>
                </a:cxn>
                <a:cxn ang="0">
                  <a:pos x="5977" y="1798"/>
                </a:cxn>
                <a:cxn ang="0">
                  <a:pos x="6087" y="1935"/>
                </a:cxn>
                <a:cxn ang="0">
                  <a:pos x="6042" y="2273"/>
                </a:cxn>
                <a:cxn ang="0">
                  <a:pos x="6606" y="1967"/>
                </a:cxn>
                <a:cxn ang="0">
                  <a:pos x="7003" y="1753"/>
                </a:cxn>
                <a:cxn ang="0">
                  <a:pos x="7695" y="1301"/>
                </a:cxn>
                <a:cxn ang="0">
                  <a:pos x="7843" y="909"/>
                </a:cxn>
                <a:cxn ang="0">
                  <a:pos x="8208" y="1260"/>
                </a:cxn>
                <a:cxn ang="0">
                  <a:pos x="8005" y="1422"/>
                </a:cxn>
                <a:cxn ang="0">
                  <a:pos x="7843" y="1636"/>
                </a:cxn>
                <a:cxn ang="0">
                  <a:pos x="7961" y="2015"/>
                </a:cxn>
                <a:cxn ang="0">
                  <a:pos x="7750" y="2135"/>
                </a:cxn>
                <a:cxn ang="0">
                  <a:pos x="7444" y="2491"/>
                </a:cxn>
                <a:cxn ang="0">
                  <a:pos x="7341" y="2801"/>
                </a:cxn>
                <a:cxn ang="0">
                  <a:pos x="7165" y="2859"/>
                </a:cxn>
                <a:cxn ang="0">
                  <a:pos x="7171" y="2624"/>
                </a:cxn>
                <a:cxn ang="0">
                  <a:pos x="7082" y="2883"/>
                </a:cxn>
                <a:cxn ang="0">
                  <a:pos x="7192" y="3065"/>
                </a:cxn>
                <a:cxn ang="0">
                  <a:pos x="7251" y="3285"/>
                </a:cxn>
                <a:cxn ang="0">
                  <a:pos x="7272" y="3461"/>
                </a:cxn>
                <a:cxn ang="0">
                  <a:pos x="7237" y="3575"/>
                </a:cxn>
                <a:cxn ang="0">
                  <a:pos x="6817" y="3957"/>
                </a:cxn>
                <a:cxn ang="0">
                  <a:pos x="6462" y="4489"/>
                </a:cxn>
                <a:cxn ang="0">
                  <a:pos x="6617" y="5570"/>
                </a:cxn>
                <a:cxn ang="0">
                  <a:pos x="6421" y="5228"/>
                </a:cxn>
                <a:cxn ang="0">
                  <a:pos x="6279" y="4998"/>
                </a:cxn>
                <a:cxn ang="0">
                  <a:pos x="5987" y="4654"/>
                </a:cxn>
                <a:cxn ang="0">
                  <a:pos x="5470" y="4588"/>
                </a:cxn>
                <a:cxn ang="0">
                  <a:pos x="4953" y="4632"/>
                </a:cxn>
                <a:cxn ang="0">
                  <a:pos x="5102" y="4719"/>
                </a:cxn>
                <a:cxn ang="0">
                  <a:pos x="4998" y="4826"/>
                </a:cxn>
                <a:cxn ang="0">
                  <a:pos x="4465" y="4701"/>
                </a:cxn>
                <a:cxn ang="0">
                  <a:pos x="4144" y="4867"/>
                </a:cxn>
                <a:cxn ang="0">
                  <a:pos x="3941" y="4915"/>
                </a:cxn>
                <a:cxn ang="0">
                  <a:pos x="3823" y="5032"/>
                </a:cxn>
                <a:cxn ang="0">
                  <a:pos x="3730" y="5277"/>
                </a:cxn>
                <a:cxn ang="0">
                  <a:pos x="3382" y="5225"/>
                </a:cxn>
                <a:cxn ang="0">
                  <a:pos x="2852" y="4588"/>
                </a:cxn>
                <a:cxn ang="0">
                  <a:pos x="2383" y="4254"/>
                </a:cxn>
                <a:cxn ang="0">
                  <a:pos x="586" y="3458"/>
                </a:cxn>
                <a:cxn ang="0">
                  <a:pos x="286" y="3052"/>
                </a:cxn>
                <a:cxn ang="0">
                  <a:pos x="79" y="2480"/>
                </a:cxn>
                <a:cxn ang="0">
                  <a:pos x="97" y="2208"/>
                </a:cxn>
                <a:cxn ang="0">
                  <a:pos x="45" y="2060"/>
                </a:cxn>
                <a:cxn ang="0">
                  <a:pos x="158" y="1289"/>
                </a:cxn>
                <a:cxn ang="0">
                  <a:pos x="500" y="589"/>
                </a:cxn>
                <a:cxn ang="0">
                  <a:pos x="586" y="406"/>
                </a:cxn>
                <a:cxn ang="0">
                  <a:pos x="637" y="24"/>
                </a:cxn>
                <a:cxn ang="0">
                  <a:pos x="786" y="269"/>
                </a:cxn>
                <a:cxn ang="0">
                  <a:pos x="940" y="72"/>
                </a:cxn>
                <a:cxn ang="0">
                  <a:pos x="1865" y="404"/>
                </a:cxn>
                <a:cxn ang="0">
                  <a:pos x="3350" y="795"/>
                </a:cxn>
                <a:cxn ang="0">
                  <a:pos x="4415" y="895"/>
                </a:cxn>
                <a:cxn ang="0">
                  <a:pos x="4711" y="1028"/>
                </a:cxn>
                <a:cxn ang="0">
                  <a:pos x="5067" y="1136"/>
                </a:cxn>
              </a:cxnLst>
              <a:rect l="0" t="0" r="r" b="b"/>
              <a:pathLst>
                <a:path w="8226" h="5570">
                  <a:moveTo>
                    <a:pt x="5067" y="1136"/>
                  </a:moveTo>
                  <a:lnTo>
                    <a:pt x="4860" y="1284"/>
                  </a:lnTo>
                  <a:lnTo>
                    <a:pt x="4750" y="1385"/>
                  </a:lnTo>
                  <a:lnTo>
                    <a:pt x="4761" y="1402"/>
                  </a:lnTo>
                  <a:lnTo>
                    <a:pt x="4812" y="1399"/>
                  </a:lnTo>
                  <a:lnTo>
                    <a:pt x="4905" y="1344"/>
                  </a:lnTo>
                  <a:lnTo>
                    <a:pt x="4919" y="1357"/>
                  </a:lnTo>
                  <a:lnTo>
                    <a:pt x="4915" y="1416"/>
                  </a:lnTo>
                  <a:lnTo>
                    <a:pt x="5005" y="1408"/>
                  </a:lnTo>
                  <a:lnTo>
                    <a:pt x="5053" y="1374"/>
                  </a:lnTo>
                  <a:lnTo>
                    <a:pt x="5122" y="1357"/>
                  </a:lnTo>
                  <a:lnTo>
                    <a:pt x="5239" y="1260"/>
                  </a:lnTo>
                  <a:lnTo>
                    <a:pt x="5319" y="1233"/>
                  </a:lnTo>
                  <a:lnTo>
                    <a:pt x="5325" y="1246"/>
                  </a:lnTo>
                  <a:lnTo>
                    <a:pt x="5236" y="1336"/>
                  </a:lnTo>
                  <a:lnTo>
                    <a:pt x="5236" y="1378"/>
                  </a:lnTo>
                  <a:lnTo>
                    <a:pt x="5256" y="1357"/>
                  </a:lnTo>
                  <a:lnTo>
                    <a:pt x="5305" y="1350"/>
                  </a:lnTo>
                  <a:lnTo>
                    <a:pt x="5349" y="1374"/>
                  </a:lnTo>
                  <a:lnTo>
                    <a:pt x="5398" y="1426"/>
                  </a:lnTo>
                  <a:lnTo>
                    <a:pt x="5480" y="1429"/>
                  </a:lnTo>
                  <a:lnTo>
                    <a:pt x="5552" y="1381"/>
                  </a:lnTo>
                  <a:lnTo>
                    <a:pt x="5694" y="1357"/>
                  </a:lnTo>
                  <a:lnTo>
                    <a:pt x="5701" y="1399"/>
                  </a:lnTo>
                  <a:lnTo>
                    <a:pt x="5780" y="1405"/>
                  </a:lnTo>
                  <a:lnTo>
                    <a:pt x="5797" y="1402"/>
                  </a:lnTo>
                  <a:lnTo>
                    <a:pt x="5818" y="1463"/>
                  </a:lnTo>
                  <a:lnTo>
                    <a:pt x="5859" y="1501"/>
                  </a:lnTo>
                  <a:lnTo>
                    <a:pt x="5797" y="1515"/>
                  </a:lnTo>
                  <a:lnTo>
                    <a:pt x="5774" y="1498"/>
                  </a:lnTo>
                  <a:lnTo>
                    <a:pt x="5766" y="1526"/>
                  </a:lnTo>
                  <a:lnTo>
                    <a:pt x="5746" y="1529"/>
                  </a:lnTo>
                  <a:lnTo>
                    <a:pt x="5670" y="1492"/>
                  </a:lnTo>
                  <a:lnTo>
                    <a:pt x="5642" y="1501"/>
                  </a:lnTo>
                  <a:lnTo>
                    <a:pt x="5625" y="1523"/>
                  </a:lnTo>
                  <a:lnTo>
                    <a:pt x="5552" y="1543"/>
                  </a:lnTo>
                  <a:lnTo>
                    <a:pt x="5497" y="1591"/>
                  </a:lnTo>
                  <a:lnTo>
                    <a:pt x="5494" y="1543"/>
                  </a:lnTo>
                  <a:lnTo>
                    <a:pt x="5425" y="1598"/>
                  </a:lnTo>
                  <a:lnTo>
                    <a:pt x="5335" y="1756"/>
                  </a:lnTo>
                  <a:lnTo>
                    <a:pt x="5319" y="1808"/>
                  </a:lnTo>
                  <a:lnTo>
                    <a:pt x="5395" y="1750"/>
                  </a:lnTo>
                  <a:lnTo>
                    <a:pt x="5398" y="1705"/>
                  </a:lnTo>
                  <a:lnTo>
                    <a:pt x="5432" y="1663"/>
                  </a:lnTo>
                  <a:lnTo>
                    <a:pt x="5439" y="1688"/>
                  </a:lnTo>
                  <a:lnTo>
                    <a:pt x="5387" y="1808"/>
                  </a:lnTo>
                  <a:lnTo>
                    <a:pt x="5363" y="1978"/>
                  </a:lnTo>
                  <a:lnTo>
                    <a:pt x="5335" y="2066"/>
                  </a:lnTo>
                  <a:lnTo>
                    <a:pt x="5349" y="2253"/>
                  </a:lnTo>
                  <a:lnTo>
                    <a:pt x="5384" y="2346"/>
                  </a:lnTo>
                  <a:lnTo>
                    <a:pt x="5408" y="2366"/>
                  </a:lnTo>
                  <a:lnTo>
                    <a:pt x="5450" y="2373"/>
                  </a:lnTo>
                  <a:lnTo>
                    <a:pt x="5519" y="2321"/>
                  </a:lnTo>
                  <a:lnTo>
                    <a:pt x="5574" y="2173"/>
                  </a:lnTo>
                  <a:lnTo>
                    <a:pt x="5574" y="2083"/>
                  </a:lnTo>
                  <a:lnTo>
                    <a:pt x="5525" y="1973"/>
                  </a:lnTo>
                  <a:lnTo>
                    <a:pt x="5543" y="1871"/>
                  </a:lnTo>
                  <a:lnTo>
                    <a:pt x="5557" y="1857"/>
                  </a:lnTo>
                  <a:lnTo>
                    <a:pt x="5557" y="1773"/>
                  </a:lnTo>
                  <a:lnTo>
                    <a:pt x="5574" y="1732"/>
                  </a:lnTo>
                  <a:lnTo>
                    <a:pt x="5632" y="1684"/>
                  </a:lnTo>
                  <a:lnTo>
                    <a:pt x="5646" y="1739"/>
                  </a:lnTo>
                  <a:lnTo>
                    <a:pt x="5667" y="1718"/>
                  </a:lnTo>
                  <a:lnTo>
                    <a:pt x="5670" y="1654"/>
                  </a:lnTo>
                  <a:lnTo>
                    <a:pt x="5728" y="1625"/>
                  </a:lnTo>
                  <a:lnTo>
                    <a:pt x="5711" y="1595"/>
                  </a:lnTo>
                  <a:lnTo>
                    <a:pt x="5725" y="1564"/>
                  </a:lnTo>
                  <a:lnTo>
                    <a:pt x="5804" y="1567"/>
                  </a:lnTo>
                  <a:lnTo>
                    <a:pt x="5939" y="1636"/>
                  </a:lnTo>
                  <a:lnTo>
                    <a:pt x="5956" y="1668"/>
                  </a:lnTo>
                  <a:lnTo>
                    <a:pt x="5945" y="1681"/>
                  </a:lnTo>
                  <a:lnTo>
                    <a:pt x="5977" y="1798"/>
                  </a:lnTo>
                  <a:lnTo>
                    <a:pt x="5945" y="1857"/>
                  </a:lnTo>
                  <a:lnTo>
                    <a:pt x="5914" y="1891"/>
                  </a:lnTo>
                  <a:lnTo>
                    <a:pt x="5897" y="1939"/>
                  </a:lnTo>
                  <a:lnTo>
                    <a:pt x="5922" y="1956"/>
                  </a:lnTo>
                  <a:lnTo>
                    <a:pt x="5939" y="1946"/>
                  </a:lnTo>
                  <a:lnTo>
                    <a:pt x="5972" y="1888"/>
                  </a:lnTo>
                  <a:lnTo>
                    <a:pt x="6035" y="1860"/>
                  </a:lnTo>
                  <a:lnTo>
                    <a:pt x="6087" y="1935"/>
                  </a:lnTo>
                  <a:lnTo>
                    <a:pt x="6104" y="2022"/>
                  </a:lnTo>
                  <a:lnTo>
                    <a:pt x="6122" y="2053"/>
                  </a:lnTo>
                  <a:lnTo>
                    <a:pt x="6114" y="2143"/>
                  </a:lnTo>
                  <a:lnTo>
                    <a:pt x="6084" y="2146"/>
                  </a:lnTo>
                  <a:lnTo>
                    <a:pt x="6066" y="2163"/>
                  </a:lnTo>
                  <a:lnTo>
                    <a:pt x="6066" y="2194"/>
                  </a:lnTo>
                  <a:lnTo>
                    <a:pt x="6042" y="2242"/>
                  </a:lnTo>
                  <a:lnTo>
                    <a:pt x="6042" y="2273"/>
                  </a:lnTo>
                  <a:lnTo>
                    <a:pt x="6001" y="2329"/>
                  </a:lnTo>
                  <a:lnTo>
                    <a:pt x="6059" y="2356"/>
                  </a:lnTo>
                  <a:lnTo>
                    <a:pt x="6152" y="2370"/>
                  </a:lnTo>
                  <a:lnTo>
                    <a:pt x="6245" y="2346"/>
                  </a:lnTo>
                  <a:lnTo>
                    <a:pt x="6331" y="2277"/>
                  </a:lnTo>
                  <a:lnTo>
                    <a:pt x="6504" y="2187"/>
                  </a:lnTo>
                  <a:lnTo>
                    <a:pt x="6644" y="2046"/>
                  </a:lnTo>
                  <a:lnTo>
                    <a:pt x="6606" y="1967"/>
                  </a:lnTo>
                  <a:lnTo>
                    <a:pt x="6738" y="1915"/>
                  </a:lnTo>
                  <a:lnTo>
                    <a:pt x="6817" y="1929"/>
                  </a:lnTo>
                  <a:lnTo>
                    <a:pt x="6907" y="1908"/>
                  </a:lnTo>
                  <a:lnTo>
                    <a:pt x="6965" y="1857"/>
                  </a:lnTo>
                  <a:lnTo>
                    <a:pt x="7006" y="1843"/>
                  </a:lnTo>
                  <a:lnTo>
                    <a:pt x="7000" y="1798"/>
                  </a:lnTo>
                  <a:lnTo>
                    <a:pt x="6982" y="1778"/>
                  </a:lnTo>
                  <a:lnTo>
                    <a:pt x="7003" y="1753"/>
                  </a:lnTo>
                  <a:lnTo>
                    <a:pt x="6968" y="1732"/>
                  </a:lnTo>
                  <a:lnTo>
                    <a:pt x="7020" y="1677"/>
                  </a:lnTo>
                  <a:lnTo>
                    <a:pt x="7034" y="1633"/>
                  </a:lnTo>
                  <a:lnTo>
                    <a:pt x="7116" y="1533"/>
                  </a:lnTo>
                  <a:lnTo>
                    <a:pt x="7585" y="1433"/>
                  </a:lnTo>
                  <a:lnTo>
                    <a:pt x="7602" y="1374"/>
                  </a:lnTo>
                  <a:lnTo>
                    <a:pt x="7702" y="1333"/>
                  </a:lnTo>
                  <a:lnTo>
                    <a:pt x="7695" y="1301"/>
                  </a:lnTo>
                  <a:lnTo>
                    <a:pt x="7716" y="1260"/>
                  </a:lnTo>
                  <a:lnTo>
                    <a:pt x="7702" y="1171"/>
                  </a:lnTo>
                  <a:lnTo>
                    <a:pt x="7713" y="1078"/>
                  </a:lnTo>
                  <a:lnTo>
                    <a:pt x="7709" y="1016"/>
                  </a:lnTo>
                  <a:lnTo>
                    <a:pt x="7758" y="878"/>
                  </a:lnTo>
                  <a:lnTo>
                    <a:pt x="7785" y="881"/>
                  </a:lnTo>
                  <a:lnTo>
                    <a:pt x="7813" y="909"/>
                  </a:lnTo>
                  <a:lnTo>
                    <a:pt x="7843" y="909"/>
                  </a:lnTo>
                  <a:lnTo>
                    <a:pt x="7909" y="854"/>
                  </a:lnTo>
                  <a:lnTo>
                    <a:pt x="7985" y="899"/>
                  </a:lnTo>
                  <a:lnTo>
                    <a:pt x="8064" y="1161"/>
                  </a:lnTo>
                  <a:lnTo>
                    <a:pt x="8106" y="1168"/>
                  </a:lnTo>
                  <a:lnTo>
                    <a:pt x="8133" y="1229"/>
                  </a:lnTo>
                  <a:lnTo>
                    <a:pt x="8181" y="1233"/>
                  </a:lnTo>
                  <a:lnTo>
                    <a:pt x="8191" y="1223"/>
                  </a:lnTo>
                  <a:lnTo>
                    <a:pt x="8208" y="1260"/>
                  </a:lnTo>
                  <a:lnTo>
                    <a:pt x="8202" y="1284"/>
                  </a:lnTo>
                  <a:lnTo>
                    <a:pt x="8226" y="1295"/>
                  </a:lnTo>
                  <a:lnTo>
                    <a:pt x="8216" y="1323"/>
                  </a:lnTo>
                  <a:lnTo>
                    <a:pt x="8129" y="1381"/>
                  </a:lnTo>
                  <a:lnTo>
                    <a:pt x="8074" y="1457"/>
                  </a:lnTo>
                  <a:lnTo>
                    <a:pt x="8043" y="1443"/>
                  </a:lnTo>
                  <a:lnTo>
                    <a:pt x="8023" y="1454"/>
                  </a:lnTo>
                  <a:lnTo>
                    <a:pt x="8005" y="1422"/>
                  </a:lnTo>
                  <a:lnTo>
                    <a:pt x="7991" y="1429"/>
                  </a:lnTo>
                  <a:lnTo>
                    <a:pt x="7974" y="1536"/>
                  </a:lnTo>
                  <a:lnTo>
                    <a:pt x="7953" y="1536"/>
                  </a:lnTo>
                  <a:lnTo>
                    <a:pt x="7930" y="1578"/>
                  </a:lnTo>
                  <a:lnTo>
                    <a:pt x="7909" y="1570"/>
                  </a:lnTo>
                  <a:lnTo>
                    <a:pt x="7902" y="1611"/>
                  </a:lnTo>
                  <a:lnTo>
                    <a:pt x="7875" y="1595"/>
                  </a:lnTo>
                  <a:lnTo>
                    <a:pt x="7843" y="1636"/>
                  </a:lnTo>
                  <a:lnTo>
                    <a:pt x="7802" y="1825"/>
                  </a:lnTo>
                  <a:lnTo>
                    <a:pt x="7805" y="1850"/>
                  </a:lnTo>
                  <a:lnTo>
                    <a:pt x="7826" y="1866"/>
                  </a:lnTo>
                  <a:lnTo>
                    <a:pt x="7799" y="1932"/>
                  </a:lnTo>
                  <a:lnTo>
                    <a:pt x="7843" y="1953"/>
                  </a:lnTo>
                  <a:lnTo>
                    <a:pt x="7885" y="2015"/>
                  </a:lnTo>
                  <a:lnTo>
                    <a:pt x="7912" y="2022"/>
                  </a:lnTo>
                  <a:lnTo>
                    <a:pt x="7961" y="2015"/>
                  </a:lnTo>
                  <a:lnTo>
                    <a:pt x="7961" y="1967"/>
                  </a:lnTo>
                  <a:lnTo>
                    <a:pt x="7974" y="2019"/>
                  </a:lnTo>
                  <a:lnTo>
                    <a:pt x="7902" y="2066"/>
                  </a:lnTo>
                  <a:lnTo>
                    <a:pt x="7868" y="2049"/>
                  </a:lnTo>
                  <a:lnTo>
                    <a:pt x="7819" y="2091"/>
                  </a:lnTo>
                  <a:lnTo>
                    <a:pt x="7785" y="2060"/>
                  </a:lnTo>
                  <a:lnTo>
                    <a:pt x="7774" y="2115"/>
                  </a:lnTo>
                  <a:lnTo>
                    <a:pt x="7750" y="2135"/>
                  </a:lnTo>
                  <a:lnTo>
                    <a:pt x="7547" y="2208"/>
                  </a:lnTo>
                  <a:lnTo>
                    <a:pt x="7541" y="2225"/>
                  </a:lnTo>
                  <a:lnTo>
                    <a:pt x="7426" y="2308"/>
                  </a:lnTo>
                  <a:lnTo>
                    <a:pt x="7406" y="2356"/>
                  </a:lnTo>
                  <a:lnTo>
                    <a:pt x="7399" y="2393"/>
                  </a:lnTo>
                  <a:lnTo>
                    <a:pt x="7444" y="2421"/>
                  </a:lnTo>
                  <a:lnTo>
                    <a:pt x="7447" y="2448"/>
                  </a:lnTo>
                  <a:lnTo>
                    <a:pt x="7444" y="2491"/>
                  </a:lnTo>
                  <a:lnTo>
                    <a:pt x="7431" y="2500"/>
                  </a:lnTo>
                  <a:lnTo>
                    <a:pt x="7431" y="2555"/>
                  </a:lnTo>
                  <a:lnTo>
                    <a:pt x="7354" y="2708"/>
                  </a:lnTo>
                  <a:lnTo>
                    <a:pt x="7344" y="2662"/>
                  </a:lnTo>
                  <a:lnTo>
                    <a:pt x="7272" y="2648"/>
                  </a:lnTo>
                  <a:lnTo>
                    <a:pt x="7237" y="2607"/>
                  </a:lnTo>
                  <a:lnTo>
                    <a:pt x="7244" y="2648"/>
                  </a:lnTo>
                  <a:lnTo>
                    <a:pt x="7341" y="2801"/>
                  </a:lnTo>
                  <a:lnTo>
                    <a:pt x="7261" y="3093"/>
                  </a:lnTo>
                  <a:lnTo>
                    <a:pt x="7241" y="3090"/>
                  </a:lnTo>
                  <a:lnTo>
                    <a:pt x="7226" y="3035"/>
                  </a:lnTo>
                  <a:lnTo>
                    <a:pt x="7264" y="2931"/>
                  </a:lnTo>
                  <a:lnTo>
                    <a:pt x="7241" y="2925"/>
                  </a:lnTo>
                  <a:lnTo>
                    <a:pt x="7220" y="2876"/>
                  </a:lnTo>
                  <a:lnTo>
                    <a:pt x="7185" y="2876"/>
                  </a:lnTo>
                  <a:lnTo>
                    <a:pt x="7165" y="2859"/>
                  </a:lnTo>
                  <a:lnTo>
                    <a:pt x="7158" y="2824"/>
                  </a:lnTo>
                  <a:lnTo>
                    <a:pt x="7176" y="2804"/>
                  </a:lnTo>
                  <a:lnTo>
                    <a:pt x="7165" y="2763"/>
                  </a:lnTo>
                  <a:lnTo>
                    <a:pt x="7141" y="2752"/>
                  </a:lnTo>
                  <a:lnTo>
                    <a:pt x="7158" y="2725"/>
                  </a:lnTo>
                  <a:lnTo>
                    <a:pt x="7148" y="2687"/>
                  </a:lnTo>
                  <a:lnTo>
                    <a:pt x="7176" y="2648"/>
                  </a:lnTo>
                  <a:lnTo>
                    <a:pt x="7171" y="2624"/>
                  </a:lnTo>
                  <a:lnTo>
                    <a:pt x="7158" y="2621"/>
                  </a:lnTo>
                  <a:lnTo>
                    <a:pt x="7144" y="2656"/>
                  </a:lnTo>
                  <a:lnTo>
                    <a:pt x="7093" y="2703"/>
                  </a:lnTo>
                  <a:lnTo>
                    <a:pt x="7127" y="2848"/>
                  </a:lnTo>
                  <a:lnTo>
                    <a:pt x="7113" y="2856"/>
                  </a:lnTo>
                  <a:lnTo>
                    <a:pt x="7134" y="2873"/>
                  </a:lnTo>
                  <a:lnTo>
                    <a:pt x="7154" y="2914"/>
                  </a:lnTo>
                  <a:lnTo>
                    <a:pt x="7082" y="2883"/>
                  </a:lnTo>
                  <a:lnTo>
                    <a:pt x="7009" y="2873"/>
                  </a:lnTo>
                  <a:lnTo>
                    <a:pt x="7009" y="2838"/>
                  </a:lnTo>
                  <a:lnTo>
                    <a:pt x="7000" y="2845"/>
                  </a:lnTo>
                  <a:lnTo>
                    <a:pt x="7000" y="2879"/>
                  </a:lnTo>
                  <a:lnTo>
                    <a:pt x="7148" y="2934"/>
                  </a:lnTo>
                  <a:lnTo>
                    <a:pt x="7171" y="2969"/>
                  </a:lnTo>
                  <a:lnTo>
                    <a:pt x="7158" y="3013"/>
                  </a:lnTo>
                  <a:lnTo>
                    <a:pt x="7192" y="3065"/>
                  </a:lnTo>
                  <a:lnTo>
                    <a:pt x="7171" y="3086"/>
                  </a:lnTo>
                  <a:lnTo>
                    <a:pt x="7199" y="3117"/>
                  </a:lnTo>
                  <a:lnTo>
                    <a:pt x="7162" y="3131"/>
                  </a:lnTo>
                  <a:lnTo>
                    <a:pt x="7162" y="3145"/>
                  </a:lnTo>
                  <a:lnTo>
                    <a:pt x="7244" y="3152"/>
                  </a:lnTo>
                  <a:lnTo>
                    <a:pt x="7264" y="3238"/>
                  </a:lnTo>
                  <a:lnTo>
                    <a:pt x="7289" y="3290"/>
                  </a:lnTo>
                  <a:lnTo>
                    <a:pt x="7251" y="3285"/>
                  </a:lnTo>
                  <a:lnTo>
                    <a:pt x="7189" y="3331"/>
                  </a:lnTo>
                  <a:lnTo>
                    <a:pt x="7162" y="3285"/>
                  </a:lnTo>
                  <a:lnTo>
                    <a:pt x="7168" y="3358"/>
                  </a:lnTo>
                  <a:lnTo>
                    <a:pt x="7258" y="3337"/>
                  </a:lnTo>
                  <a:lnTo>
                    <a:pt x="7278" y="3386"/>
                  </a:lnTo>
                  <a:lnTo>
                    <a:pt x="7299" y="3334"/>
                  </a:lnTo>
                  <a:lnTo>
                    <a:pt x="7324" y="3396"/>
                  </a:lnTo>
                  <a:lnTo>
                    <a:pt x="7272" y="3461"/>
                  </a:lnTo>
                  <a:lnTo>
                    <a:pt x="7241" y="3465"/>
                  </a:lnTo>
                  <a:lnTo>
                    <a:pt x="7209" y="3434"/>
                  </a:lnTo>
                  <a:lnTo>
                    <a:pt x="7192" y="3455"/>
                  </a:lnTo>
                  <a:lnTo>
                    <a:pt x="7158" y="3458"/>
                  </a:lnTo>
                  <a:lnTo>
                    <a:pt x="7217" y="3482"/>
                  </a:lnTo>
                  <a:lnTo>
                    <a:pt x="7192" y="3545"/>
                  </a:lnTo>
                  <a:lnTo>
                    <a:pt x="7234" y="3537"/>
                  </a:lnTo>
                  <a:lnTo>
                    <a:pt x="7237" y="3575"/>
                  </a:lnTo>
                  <a:lnTo>
                    <a:pt x="7196" y="3609"/>
                  </a:lnTo>
                  <a:lnTo>
                    <a:pt x="7134" y="3623"/>
                  </a:lnTo>
                  <a:lnTo>
                    <a:pt x="7082" y="3658"/>
                  </a:lnTo>
                  <a:lnTo>
                    <a:pt x="7023" y="3751"/>
                  </a:lnTo>
                  <a:lnTo>
                    <a:pt x="6921" y="3795"/>
                  </a:lnTo>
                  <a:lnTo>
                    <a:pt x="6866" y="3841"/>
                  </a:lnTo>
                  <a:lnTo>
                    <a:pt x="6814" y="3919"/>
                  </a:lnTo>
                  <a:lnTo>
                    <a:pt x="6817" y="3957"/>
                  </a:lnTo>
                  <a:lnTo>
                    <a:pt x="6686" y="4081"/>
                  </a:lnTo>
                  <a:lnTo>
                    <a:pt x="6579" y="4095"/>
                  </a:lnTo>
                  <a:lnTo>
                    <a:pt x="6603" y="4147"/>
                  </a:lnTo>
                  <a:lnTo>
                    <a:pt x="6548" y="4188"/>
                  </a:lnTo>
                  <a:lnTo>
                    <a:pt x="6559" y="4202"/>
                  </a:lnTo>
                  <a:lnTo>
                    <a:pt x="6528" y="4237"/>
                  </a:lnTo>
                  <a:lnTo>
                    <a:pt x="6466" y="4423"/>
                  </a:lnTo>
                  <a:lnTo>
                    <a:pt x="6462" y="4489"/>
                  </a:lnTo>
                  <a:lnTo>
                    <a:pt x="6562" y="4756"/>
                  </a:lnTo>
                  <a:lnTo>
                    <a:pt x="6652" y="4884"/>
                  </a:lnTo>
                  <a:lnTo>
                    <a:pt x="6669" y="5008"/>
                  </a:lnTo>
                  <a:lnTo>
                    <a:pt x="6769" y="5197"/>
                  </a:lnTo>
                  <a:lnTo>
                    <a:pt x="6779" y="5373"/>
                  </a:lnTo>
                  <a:lnTo>
                    <a:pt x="6751" y="5508"/>
                  </a:lnTo>
                  <a:lnTo>
                    <a:pt x="6690" y="5556"/>
                  </a:lnTo>
                  <a:lnTo>
                    <a:pt x="6617" y="5570"/>
                  </a:lnTo>
                  <a:lnTo>
                    <a:pt x="6597" y="5552"/>
                  </a:lnTo>
                  <a:lnTo>
                    <a:pt x="6597" y="5511"/>
                  </a:lnTo>
                  <a:lnTo>
                    <a:pt x="6559" y="5442"/>
                  </a:lnTo>
                  <a:lnTo>
                    <a:pt x="6496" y="5411"/>
                  </a:lnTo>
                  <a:lnTo>
                    <a:pt x="6441" y="5308"/>
                  </a:lnTo>
                  <a:lnTo>
                    <a:pt x="6452" y="5280"/>
                  </a:lnTo>
                  <a:lnTo>
                    <a:pt x="6432" y="5283"/>
                  </a:lnTo>
                  <a:lnTo>
                    <a:pt x="6421" y="5228"/>
                  </a:lnTo>
                  <a:lnTo>
                    <a:pt x="6389" y="5236"/>
                  </a:lnTo>
                  <a:lnTo>
                    <a:pt x="6325" y="5142"/>
                  </a:lnTo>
                  <a:lnTo>
                    <a:pt x="6317" y="5108"/>
                  </a:lnTo>
                  <a:lnTo>
                    <a:pt x="6331" y="5039"/>
                  </a:lnTo>
                  <a:lnTo>
                    <a:pt x="6304" y="5022"/>
                  </a:lnTo>
                  <a:lnTo>
                    <a:pt x="6304" y="5053"/>
                  </a:lnTo>
                  <a:lnTo>
                    <a:pt x="6287" y="5049"/>
                  </a:lnTo>
                  <a:lnTo>
                    <a:pt x="6279" y="4998"/>
                  </a:lnTo>
                  <a:lnTo>
                    <a:pt x="6290" y="4887"/>
                  </a:lnTo>
                  <a:lnTo>
                    <a:pt x="6266" y="4794"/>
                  </a:lnTo>
                  <a:lnTo>
                    <a:pt x="6207" y="4770"/>
                  </a:lnTo>
                  <a:lnTo>
                    <a:pt x="6156" y="4722"/>
                  </a:lnTo>
                  <a:lnTo>
                    <a:pt x="6152" y="4695"/>
                  </a:lnTo>
                  <a:lnTo>
                    <a:pt x="6049" y="4622"/>
                  </a:lnTo>
                  <a:lnTo>
                    <a:pt x="6007" y="4622"/>
                  </a:lnTo>
                  <a:lnTo>
                    <a:pt x="5987" y="4654"/>
                  </a:lnTo>
                  <a:lnTo>
                    <a:pt x="5835" y="4701"/>
                  </a:lnTo>
                  <a:lnTo>
                    <a:pt x="5790" y="4646"/>
                  </a:lnTo>
                  <a:lnTo>
                    <a:pt x="5653" y="4581"/>
                  </a:lnTo>
                  <a:lnTo>
                    <a:pt x="5662" y="4560"/>
                  </a:lnTo>
                  <a:lnTo>
                    <a:pt x="5650" y="4557"/>
                  </a:lnTo>
                  <a:lnTo>
                    <a:pt x="5525" y="4577"/>
                  </a:lnTo>
                  <a:lnTo>
                    <a:pt x="5525" y="4547"/>
                  </a:lnTo>
                  <a:lnTo>
                    <a:pt x="5470" y="4588"/>
                  </a:lnTo>
                  <a:lnTo>
                    <a:pt x="5377" y="4612"/>
                  </a:lnTo>
                  <a:lnTo>
                    <a:pt x="5363" y="4481"/>
                  </a:lnTo>
                  <a:lnTo>
                    <a:pt x="5329" y="4591"/>
                  </a:lnTo>
                  <a:lnTo>
                    <a:pt x="5198" y="4581"/>
                  </a:lnTo>
                  <a:lnTo>
                    <a:pt x="5098" y="4616"/>
                  </a:lnTo>
                  <a:lnTo>
                    <a:pt x="5005" y="4585"/>
                  </a:lnTo>
                  <a:lnTo>
                    <a:pt x="4964" y="4599"/>
                  </a:lnTo>
                  <a:lnTo>
                    <a:pt x="4953" y="4632"/>
                  </a:lnTo>
                  <a:lnTo>
                    <a:pt x="4981" y="4654"/>
                  </a:lnTo>
                  <a:lnTo>
                    <a:pt x="5050" y="4632"/>
                  </a:lnTo>
                  <a:lnTo>
                    <a:pt x="5064" y="4671"/>
                  </a:lnTo>
                  <a:lnTo>
                    <a:pt x="5077" y="4671"/>
                  </a:lnTo>
                  <a:lnTo>
                    <a:pt x="5129" y="4640"/>
                  </a:lnTo>
                  <a:lnTo>
                    <a:pt x="5146" y="4646"/>
                  </a:lnTo>
                  <a:lnTo>
                    <a:pt x="5136" y="4692"/>
                  </a:lnTo>
                  <a:lnTo>
                    <a:pt x="5102" y="4719"/>
                  </a:lnTo>
                  <a:lnTo>
                    <a:pt x="5088" y="4750"/>
                  </a:lnTo>
                  <a:lnTo>
                    <a:pt x="5112" y="4781"/>
                  </a:lnTo>
                  <a:lnTo>
                    <a:pt x="5160" y="4805"/>
                  </a:lnTo>
                  <a:lnTo>
                    <a:pt x="5170" y="4840"/>
                  </a:lnTo>
                  <a:lnTo>
                    <a:pt x="5136" y="4857"/>
                  </a:lnTo>
                  <a:lnTo>
                    <a:pt x="5102" y="4811"/>
                  </a:lnTo>
                  <a:lnTo>
                    <a:pt x="5030" y="4774"/>
                  </a:lnTo>
                  <a:lnTo>
                    <a:pt x="4998" y="4826"/>
                  </a:lnTo>
                  <a:lnTo>
                    <a:pt x="4919" y="4815"/>
                  </a:lnTo>
                  <a:lnTo>
                    <a:pt x="4891" y="4829"/>
                  </a:lnTo>
                  <a:lnTo>
                    <a:pt x="4822" y="4808"/>
                  </a:lnTo>
                  <a:lnTo>
                    <a:pt x="4788" y="4756"/>
                  </a:lnTo>
                  <a:lnTo>
                    <a:pt x="4698" y="4701"/>
                  </a:lnTo>
                  <a:lnTo>
                    <a:pt x="4668" y="4701"/>
                  </a:lnTo>
                  <a:lnTo>
                    <a:pt x="4640" y="4747"/>
                  </a:lnTo>
                  <a:lnTo>
                    <a:pt x="4465" y="4701"/>
                  </a:lnTo>
                  <a:lnTo>
                    <a:pt x="4358" y="4698"/>
                  </a:lnTo>
                  <a:lnTo>
                    <a:pt x="4213" y="4753"/>
                  </a:lnTo>
                  <a:lnTo>
                    <a:pt x="4234" y="4729"/>
                  </a:lnTo>
                  <a:lnTo>
                    <a:pt x="4210" y="4726"/>
                  </a:lnTo>
                  <a:lnTo>
                    <a:pt x="4210" y="4692"/>
                  </a:lnTo>
                  <a:lnTo>
                    <a:pt x="4192" y="4695"/>
                  </a:lnTo>
                  <a:lnTo>
                    <a:pt x="4175" y="4805"/>
                  </a:lnTo>
                  <a:lnTo>
                    <a:pt x="4144" y="4867"/>
                  </a:lnTo>
                  <a:lnTo>
                    <a:pt x="4078" y="4912"/>
                  </a:lnTo>
                  <a:lnTo>
                    <a:pt x="3996" y="4942"/>
                  </a:lnTo>
                  <a:lnTo>
                    <a:pt x="4051" y="4909"/>
                  </a:lnTo>
                  <a:lnTo>
                    <a:pt x="3993" y="4922"/>
                  </a:lnTo>
                  <a:lnTo>
                    <a:pt x="3989" y="4891"/>
                  </a:lnTo>
                  <a:lnTo>
                    <a:pt x="3968" y="4915"/>
                  </a:lnTo>
                  <a:lnTo>
                    <a:pt x="3947" y="4895"/>
                  </a:lnTo>
                  <a:lnTo>
                    <a:pt x="3941" y="4915"/>
                  </a:lnTo>
                  <a:lnTo>
                    <a:pt x="3917" y="4898"/>
                  </a:lnTo>
                  <a:lnTo>
                    <a:pt x="3909" y="4922"/>
                  </a:lnTo>
                  <a:lnTo>
                    <a:pt x="3924" y="4953"/>
                  </a:lnTo>
                  <a:lnTo>
                    <a:pt x="3878" y="4959"/>
                  </a:lnTo>
                  <a:lnTo>
                    <a:pt x="3851" y="4998"/>
                  </a:lnTo>
                  <a:lnTo>
                    <a:pt x="3806" y="5011"/>
                  </a:lnTo>
                  <a:lnTo>
                    <a:pt x="3803" y="5029"/>
                  </a:lnTo>
                  <a:lnTo>
                    <a:pt x="3823" y="5032"/>
                  </a:lnTo>
                  <a:lnTo>
                    <a:pt x="3806" y="5063"/>
                  </a:lnTo>
                  <a:lnTo>
                    <a:pt x="3762" y="5070"/>
                  </a:lnTo>
                  <a:lnTo>
                    <a:pt x="3776" y="5101"/>
                  </a:lnTo>
                  <a:lnTo>
                    <a:pt x="3765" y="5167"/>
                  </a:lnTo>
                  <a:lnTo>
                    <a:pt x="3717" y="5167"/>
                  </a:lnTo>
                  <a:lnTo>
                    <a:pt x="3713" y="5177"/>
                  </a:lnTo>
                  <a:lnTo>
                    <a:pt x="3744" y="5197"/>
                  </a:lnTo>
                  <a:lnTo>
                    <a:pt x="3730" y="5277"/>
                  </a:lnTo>
                  <a:lnTo>
                    <a:pt x="3776" y="5445"/>
                  </a:lnTo>
                  <a:lnTo>
                    <a:pt x="3720" y="5439"/>
                  </a:lnTo>
                  <a:lnTo>
                    <a:pt x="3662" y="5404"/>
                  </a:lnTo>
                  <a:lnTo>
                    <a:pt x="3576" y="5394"/>
                  </a:lnTo>
                  <a:lnTo>
                    <a:pt x="3530" y="5363"/>
                  </a:lnTo>
                  <a:lnTo>
                    <a:pt x="3483" y="5353"/>
                  </a:lnTo>
                  <a:lnTo>
                    <a:pt x="3434" y="5315"/>
                  </a:lnTo>
                  <a:lnTo>
                    <a:pt x="3382" y="5225"/>
                  </a:lnTo>
                  <a:lnTo>
                    <a:pt x="3348" y="5070"/>
                  </a:lnTo>
                  <a:lnTo>
                    <a:pt x="3296" y="5025"/>
                  </a:lnTo>
                  <a:lnTo>
                    <a:pt x="3272" y="4964"/>
                  </a:lnTo>
                  <a:lnTo>
                    <a:pt x="3228" y="4904"/>
                  </a:lnTo>
                  <a:lnTo>
                    <a:pt x="3179" y="4753"/>
                  </a:lnTo>
                  <a:lnTo>
                    <a:pt x="3063" y="4602"/>
                  </a:lnTo>
                  <a:lnTo>
                    <a:pt x="2887" y="4581"/>
                  </a:lnTo>
                  <a:lnTo>
                    <a:pt x="2852" y="4588"/>
                  </a:lnTo>
                  <a:lnTo>
                    <a:pt x="2759" y="4729"/>
                  </a:lnTo>
                  <a:lnTo>
                    <a:pt x="2731" y="4736"/>
                  </a:lnTo>
                  <a:lnTo>
                    <a:pt x="2680" y="4715"/>
                  </a:lnTo>
                  <a:lnTo>
                    <a:pt x="2559" y="4599"/>
                  </a:lnTo>
                  <a:lnTo>
                    <a:pt x="2522" y="4533"/>
                  </a:lnTo>
                  <a:lnTo>
                    <a:pt x="2518" y="4484"/>
                  </a:lnTo>
                  <a:lnTo>
                    <a:pt x="2498" y="4368"/>
                  </a:lnTo>
                  <a:lnTo>
                    <a:pt x="2383" y="4254"/>
                  </a:lnTo>
                  <a:lnTo>
                    <a:pt x="2281" y="4113"/>
                  </a:lnTo>
                  <a:lnTo>
                    <a:pt x="1977" y="4061"/>
                  </a:lnTo>
                  <a:lnTo>
                    <a:pt x="1963" y="4140"/>
                  </a:lnTo>
                  <a:lnTo>
                    <a:pt x="1512" y="4067"/>
                  </a:lnTo>
                  <a:lnTo>
                    <a:pt x="944" y="3658"/>
                  </a:lnTo>
                  <a:lnTo>
                    <a:pt x="954" y="3638"/>
                  </a:lnTo>
                  <a:lnTo>
                    <a:pt x="575" y="3568"/>
                  </a:lnTo>
                  <a:lnTo>
                    <a:pt x="586" y="3458"/>
                  </a:lnTo>
                  <a:lnTo>
                    <a:pt x="578" y="3424"/>
                  </a:lnTo>
                  <a:lnTo>
                    <a:pt x="514" y="3303"/>
                  </a:lnTo>
                  <a:lnTo>
                    <a:pt x="448" y="3255"/>
                  </a:lnTo>
                  <a:lnTo>
                    <a:pt x="451" y="3213"/>
                  </a:lnTo>
                  <a:lnTo>
                    <a:pt x="434" y="3183"/>
                  </a:lnTo>
                  <a:lnTo>
                    <a:pt x="413" y="3169"/>
                  </a:lnTo>
                  <a:lnTo>
                    <a:pt x="396" y="3186"/>
                  </a:lnTo>
                  <a:lnTo>
                    <a:pt x="286" y="3052"/>
                  </a:lnTo>
                  <a:lnTo>
                    <a:pt x="254" y="3045"/>
                  </a:lnTo>
                  <a:lnTo>
                    <a:pt x="158" y="2972"/>
                  </a:lnTo>
                  <a:lnTo>
                    <a:pt x="182" y="2859"/>
                  </a:lnTo>
                  <a:lnTo>
                    <a:pt x="155" y="2810"/>
                  </a:lnTo>
                  <a:lnTo>
                    <a:pt x="162" y="2776"/>
                  </a:lnTo>
                  <a:lnTo>
                    <a:pt x="120" y="2700"/>
                  </a:lnTo>
                  <a:lnTo>
                    <a:pt x="69" y="2535"/>
                  </a:lnTo>
                  <a:lnTo>
                    <a:pt x="79" y="2480"/>
                  </a:lnTo>
                  <a:lnTo>
                    <a:pt x="103" y="2470"/>
                  </a:lnTo>
                  <a:lnTo>
                    <a:pt x="114" y="2435"/>
                  </a:lnTo>
                  <a:lnTo>
                    <a:pt x="106" y="2401"/>
                  </a:lnTo>
                  <a:lnTo>
                    <a:pt x="76" y="2380"/>
                  </a:lnTo>
                  <a:lnTo>
                    <a:pt x="62" y="2343"/>
                  </a:lnTo>
                  <a:lnTo>
                    <a:pt x="72" y="2222"/>
                  </a:lnTo>
                  <a:lnTo>
                    <a:pt x="86" y="2201"/>
                  </a:lnTo>
                  <a:lnTo>
                    <a:pt x="97" y="2208"/>
                  </a:lnTo>
                  <a:lnTo>
                    <a:pt x="120" y="2283"/>
                  </a:lnTo>
                  <a:lnTo>
                    <a:pt x="117" y="2184"/>
                  </a:lnTo>
                  <a:lnTo>
                    <a:pt x="176" y="2173"/>
                  </a:lnTo>
                  <a:lnTo>
                    <a:pt x="110" y="2126"/>
                  </a:lnTo>
                  <a:lnTo>
                    <a:pt x="92" y="2167"/>
                  </a:lnTo>
                  <a:lnTo>
                    <a:pt x="76" y="2177"/>
                  </a:lnTo>
                  <a:lnTo>
                    <a:pt x="37" y="2121"/>
                  </a:lnTo>
                  <a:lnTo>
                    <a:pt x="45" y="2060"/>
                  </a:lnTo>
                  <a:lnTo>
                    <a:pt x="0" y="1918"/>
                  </a:lnTo>
                  <a:lnTo>
                    <a:pt x="17" y="1805"/>
                  </a:lnTo>
                  <a:lnTo>
                    <a:pt x="45" y="1743"/>
                  </a:lnTo>
                  <a:lnTo>
                    <a:pt x="14" y="1581"/>
                  </a:lnTo>
                  <a:lnTo>
                    <a:pt x="28" y="1539"/>
                  </a:lnTo>
                  <a:lnTo>
                    <a:pt x="83" y="1498"/>
                  </a:lnTo>
                  <a:lnTo>
                    <a:pt x="141" y="1385"/>
                  </a:lnTo>
                  <a:lnTo>
                    <a:pt x="158" y="1289"/>
                  </a:lnTo>
                  <a:lnTo>
                    <a:pt x="169" y="1182"/>
                  </a:lnTo>
                  <a:lnTo>
                    <a:pt x="204" y="1068"/>
                  </a:lnTo>
                  <a:lnTo>
                    <a:pt x="245" y="1006"/>
                  </a:lnTo>
                  <a:lnTo>
                    <a:pt x="289" y="982"/>
                  </a:lnTo>
                  <a:lnTo>
                    <a:pt x="289" y="954"/>
                  </a:lnTo>
                  <a:lnTo>
                    <a:pt x="375" y="823"/>
                  </a:lnTo>
                  <a:lnTo>
                    <a:pt x="420" y="713"/>
                  </a:lnTo>
                  <a:lnTo>
                    <a:pt x="500" y="589"/>
                  </a:lnTo>
                  <a:lnTo>
                    <a:pt x="541" y="482"/>
                  </a:lnTo>
                  <a:lnTo>
                    <a:pt x="561" y="469"/>
                  </a:lnTo>
                  <a:lnTo>
                    <a:pt x="637" y="503"/>
                  </a:lnTo>
                  <a:lnTo>
                    <a:pt x="613" y="464"/>
                  </a:lnTo>
                  <a:lnTo>
                    <a:pt x="555" y="423"/>
                  </a:lnTo>
                  <a:lnTo>
                    <a:pt x="569" y="379"/>
                  </a:lnTo>
                  <a:lnTo>
                    <a:pt x="572" y="406"/>
                  </a:lnTo>
                  <a:lnTo>
                    <a:pt x="586" y="406"/>
                  </a:lnTo>
                  <a:lnTo>
                    <a:pt x="603" y="362"/>
                  </a:lnTo>
                  <a:lnTo>
                    <a:pt x="589" y="337"/>
                  </a:lnTo>
                  <a:lnTo>
                    <a:pt x="619" y="296"/>
                  </a:lnTo>
                  <a:lnTo>
                    <a:pt x="616" y="282"/>
                  </a:lnTo>
                  <a:lnTo>
                    <a:pt x="596" y="286"/>
                  </a:lnTo>
                  <a:lnTo>
                    <a:pt x="624" y="169"/>
                  </a:lnTo>
                  <a:lnTo>
                    <a:pt x="619" y="65"/>
                  </a:lnTo>
                  <a:lnTo>
                    <a:pt x="637" y="24"/>
                  </a:lnTo>
                  <a:lnTo>
                    <a:pt x="668" y="0"/>
                  </a:lnTo>
                  <a:lnTo>
                    <a:pt x="737" y="82"/>
                  </a:lnTo>
                  <a:lnTo>
                    <a:pt x="861" y="165"/>
                  </a:lnTo>
                  <a:lnTo>
                    <a:pt x="847" y="206"/>
                  </a:lnTo>
                  <a:lnTo>
                    <a:pt x="775" y="255"/>
                  </a:lnTo>
                  <a:lnTo>
                    <a:pt x="764" y="282"/>
                  </a:lnTo>
                  <a:lnTo>
                    <a:pt x="782" y="290"/>
                  </a:lnTo>
                  <a:lnTo>
                    <a:pt x="786" y="269"/>
                  </a:lnTo>
                  <a:lnTo>
                    <a:pt x="858" y="227"/>
                  </a:lnTo>
                  <a:lnTo>
                    <a:pt x="874" y="234"/>
                  </a:lnTo>
                  <a:lnTo>
                    <a:pt x="879" y="255"/>
                  </a:lnTo>
                  <a:lnTo>
                    <a:pt x="896" y="224"/>
                  </a:lnTo>
                  <a:lnTo>
                    <a:pt x="920" y="145"/>
                  </a:lnTo>
                  <a:lnTo>
                    <a:pt x="906" y="104"/>
                  </a:lnTo>
                  <a:lnTo>
                    <a:pt x="929" y="93"/>
                  </a:lnTo>
                  <a:lnTo>
                    <a:pt x="940" y="72"/>
                  </a:lnTo>
                  <a:lnTo>
                    <a:pt x="961" y="79"/>
                  </a:lnTo>
                  <a:lnTo>
                    <a:pt x="926" y="44"/>
                  </a:lnTo>
                  <a:lnTo>
                    <a:pt x="923" y="0"/>
                  </a:lnTo>
                  <a:lnTo>
                    <a:pt x="1107" y="90"/>
                  </a:lnTo>
                  <a:lnTo>
                    <a:pt x="1311" y="183"/>
                  </a:lnTo>
                  <a:lnTo>
                    <a:pt x="1493" y="260"/>
                  </a:lnTo>
                  <a:lnTo>
                    <a:pt x="1680" y="336"/>
                  </a:lnTo>
                  <a:lnTo>
                    <a:pt x="1865" y="404"/>
                  </a:lnTo>
                  <a:lnTo>
                    <a:pt x="2081" y="479"/>
                  </a:lnTo>
                  <a:lnTo>
                    <a:pt x="2274" y="539"/>
                  </a:lnTo>
                  <a:lnTo>
                    <a:pt x="2512" y="608"/>
                  </a:lnTo>
                  <a:lnTo>
                    <a:pt x="2694" y="656"/>
                  </a:lnTo>
                  <a:lnTo>
                    <a:pt x="2866" y="697"/>
                  </a:lnTo>
                  <a:lnTo>
                    <a:pt x="3029" y="733"/>
                  </a:lnTo>
                  <a:lnTo>
                    <a:pt x="3175" y="763"/>
                  </a:lnTo>
                  <a:lnTo>
                    <a:pt x="3350" y="795"/>
                  </a:lnTo>
                  <a:lnTo>
                    <a:pt x="3490" y="819"/>
                  </a:lnTo>
                  <a:lnTo>
                    <a:pt x="3629" y="839"/>
                  </a:lnTo>
                  <a:lnTo>
                    <a:pt x="3821" y="865"/>
                  </a:lnTo>
                  <a:lnTo>
                    <a:pt x="4103" y="896"/>
                  </a:lnTo>
                  <a:lnTo>
                    <a:pt x="4335" y="916"/>
                  </a:lnTo>
                  <a:lnTo>
                    <a:pt x="4369" y="884"/>
                  </a:lnTo>
                  <a:lnTo>
                    <a:pt x="4392" y="838"/>
                  </a:lnTo>
                  <a:lnTo>
                    <a:pt x="4415" y="895"/>
                  </a:lnTo>
                  <a:lnTo>
                    <a:pt x="4432" y="950"/>
                  </a:lnTo>
                  <a:lnTo>
                    <a:pt x="4468" y="976"/>
                  </a:lnTo>
                  <a:lnTo>
                    <a:pt x="4510" y="983"/>
                  </a:lnTo>
                  <a:lnTo>
                    <a:pt x="4548" y="1002"/>
                  </a:lnTo>
                  <a:lnTo>
                    <a:pt x="4587" y="1008"/>
                  </a:lnTo>
                  <a:lnTo>
                    <a:pt x="4627" y="997"/>
                  </a:lnTo>
                  <a:lnTo>
                    <a:pt x="4668" y="1003"/>
                  </a:lnTo>
                  <a:lnTo>
                    <a:pt x="4711" y="1028"/>
                  </a:lnTo>
                  <a:lnTo>
                    <a:pt x="4745" y="1053"/>
                  </a:lnTo>
                  <a:lnTo>
                    <a:pt x="4785" y="1078"/>
                  </a:lnTo>
                  <a:lnTo>
                    <a:pt x="4822" y="1107"/>
                  </a:lnTo>
                  <a:lnTo>
                    <a:pt x="4859" y="1122"/>
                  </a:lnTo>
                  <a:lnTo>
                    <a:pt x="4897" y="1105"/>
                  </a:lnTo>
                  <a:lnTo>
                    <a:pt x="4979" y="1121"/>
                  </a:lnTo>
                  <a:lnTo>
                    <a:pt x="5023" y="1121"/>
                  </a:lnTo>
                  <a:lnTo>
                    <a:pt x="5067" y="1136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2" name="Freeform 53">
              <a:extLst>
                <a:ext uri="{FF2B5EF4-FFF2-40B4-BE49-F238E27FC236}">
                  <a16:creationId xmlns:a16="http://schemas.microsoft.com/office/drawing/2014/main" id="{D289299F-5ACC-4832-807D-D35489836C88}"/>
                </a:ext>
              </a:extLst>
            </p:cNvPr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3429704" y="2640546"/>
              <a:ext cx="2166512" cy="1660831"/>
            </a:xfrm>
            <a:custGeom>
              <a:avLst/>
              <a:gdLst/>
              <a:ahLst/>
              <a:cxnLst>
                <a:cxn ang="0">
                  <a:pos x="7153" y="5713"/>
                </a:cxn>
                <a:cxn ang="0">
                  <a:pos x="7436" y="5441"/>
                </a:cxn>
                <a:cxn ang="0">
                  <a:pos x="7904" y="5577"/>
                </a:cxn>
                <a:cxn ang="0">
                  <a:pos x="7947" y="6030"/>
                </a:cxn>
                <a:cxn ang="0">
                  <a:pos x="8331" y="5399"/>
                </a:cxn>
                <a:cxn ang="0">
                  <a:pos x="7771" y="5173"/>
                </a:cxn>
                <a:cxn ang="0">
                  <a:pos x="7623" y="4901"/>
                </a:cxn>
                <a:cxn ang="0">
                  <a:pos x="7009" y="5597"/>
                </a:cxn>
                <a:cxn ang="0">
                  <a:pos x="7357" y="4884"/>
                </a:cxn>
                <a:cxn ang="0">
                  <a:pos x="8073" y="4520"/>
                </a:cxn>
                <a:cxn ang="0">
                  <a:pos x="8376" y="3679"/>
                </a:cxn>
                <a:cxn ang="0">
                  <a:pos x="7844" y="3497"/>
                </a:cxn>
                <a:cxn ang="0">
                  <a:pos x="7378" y="3156"/>
                </a:cxn>
                <a:cxn ang="0">
                  <a:pos x="6919" y="2971"/>
                </a:cxn>
                <a:cxn ang="0">
                  <a:pos x="6507" y="3085"/>
                </a:cxn>
                <a:cxn ang="0">
                  <a:pos x="6123" y="2733"/>
                </a:cxn>
                <a:cxn ang="0">
                  <a:pos x="5593" y="2857"/>
                </a:cxn>
                <a:cxn ang="0">
                  <a:pos x="5641" y="3401"/>
                </a:cxn>
                <a:cxn ang="0">
                  <a:pos x="5835" y="4152"/>
                </a:cxn>
                <a:cxn ang="0">
                  <a:pos x="5831" y="4854"/>
                </a:cxn>
                <a:cxn ang="0">
                  <a:pos x="5408" y="4562"/>
                </a:cxn>
                <a:cxn ang="0">
                  <a:pos x="4764" y="4099"/>
                </a:cxn>
                <a:cxn ang="0">
                  <a:pos x="4205" y="3771"/>
                </a:cxn>
                <a:cxn ang="0">
                  <a:pos x="4087" y="3109"/>
                </a:cxn>
                <a:cxn ang="0">
                  <a:pos x="4617" y="2531"/>
                </a:cxn>
                <a:cxn ang="0">
                  <a:pos x="5062" y="1991"/>
                </a:cxn>
                <a:cxn ang="0">
                  <a:pos x="4973" y="1390"/>
                </a:cxn>
                <a:cxn ang="0">
                  <a:pos x="4698" y="1889"/>
                </a:cxn>
                <a:cxn ang="0">
                  <a:pos x="4397" y="1318"/>
                </a:cxn>
                <a:cxn ang="0">
                  <a:pos x="4040" y="1246"/>
                </a:cxn>
                <a:cxn ang="0">
                  <a:pos x="3978" y="1754"/>
                </a:cxn>
                <a:cxn ang="0">
                  <a:pos x="3433" y="1552"/>
                </a:cxn>
                <a:cxn ang="0">
                  <a:pos x="2909" y="1500"/>
                </a:cxn>
                <a:cxn ang="0">
                  <a:pos x="2603" y="1117"/>
                </a:cxn>
                <a:cxn ang="0">
                  <a:pos x="2166" y="771"/>
                </a:cxn>
                <a:cxn ang="0">
                  <a:pos x="1720" y="433"/>
                </a:cxn>
                <a:cxn ang="0">
                  <a:pos x="1394" y="0"/>
                </a:cxn>
                <a:cxn ang="0">
                  <a:pos x="72" y="1423"/>
                </a:cxn>
                <a:cxn ang="0">
                  <a:pos x="64" y="1774"/>
                </a:cxn>
                <a:cxn ang="0">
                  <a:pos x="326" y="1817"/>
                </a:cxn>
                <a:cxn ang="0">
                  <a:pos x="287" y="2205"/>
                </a:cxn>
                <a:cxn ang="0">
                  <a:pos x="227" y="2614"/>
                </a:cxn>
                <a:cxn ang="0">
                  <a:pos x="191" y="2992"/>
                </a:cxn>
                <a:cxn ang="0">
                  <a:pos x="48" y="3672"/>
                </a:cxn>
                <a:cxn ang="0">
                  <a:pos x="395" y="4374"/>
                </a:cxn>
                <a:cxn ang="0">
                  <a:pos x="1316" y="4946"/>
                </a:cxn>
                <a:cxn ang="0">
                  <a:pos x="2801" y="5337"/>
                </a:cxn>
                <a:cxn ang="0">
                  <a:pos x="3866" y="5437"/>
                </a:cxn>
                <a:cxn ang="0">
                  <a:pos x="4162" y="5570"/>
                </a:cxn>
                <a:cxn ang="0">
                  <a:pos x="4518" y="5678"/>
                </a:cxn>
                <a:cxn ang="0">
                  <a:pos x="4690" y="5582"/>
                </a:cxn>
                <a:cxn ang="0">
                  <a:pos x="5021" y="5654"/>
                </a:cxn>
                <a:cxn ang="0">
                  <a:pos x="5220" y="5892"/>
                </a:cxn>
                <a:cxn ang="0">
                  <a:pos x="5331" y="5968"/>
                </a:cxn>
                <a:cxn ang="0">
                  <a:pos x="5790" y="6068"/>
                </a:cxn>
                <a:cxn ang="0">
                  <a:pos x="5886" y="6254"/>
                </a:cxn>
                <a:cxn ang="0">
                  <a:pos x="5717" y="6216"/>
                </a:cxn>
                <a:cxn ang="0">
                  <a:pos x="5600" y="6588"/>
                </a:cxn>
                <a:cxn ang="0">
                  <a:pos x="5493" y="6815"/>
                </a:cxn>
                <a:cxn ang="0">
                  <a:pos x="6016" y="6584"/>
                </a:cxn>
                <a:cxn ang="0">
                  <a:pos x="6292" y="6288"/>
                </a:cxn>
              </a:cxnLst>
              <a:rect l="0" t="0" r="r" b="b"/>
              <a:pathLst>
                <a:path w="8496" h="6815">
                  <a:moveTo>
                    <a:pt x="6485" y="6175"/>
                  </a:moveTo>
                  <a:lnTo>
                    <a:pt x="6567" y="6075"/>
                  </a:lnTo>
                  <a:lnTo>
                    <a:pt x="7036" y="5975"/>
                  </a:lnTo>
                  <a:lnTo>
                    <a:pt x="7053" y="5916"/>
                  </a:lnTo>
                  <a:lnTo>
                    <a:pt x="7153" y="5875"/>
                  </a:lnTo>
                  <a:lnTo>
                    <a:pt x="7146" y="5843"/>
                  </a:lnTo>
                  <a:lnTo>
                    <a:pt x="7167" y="5802"/>
                  </a:lnTo>
                  <a:lnTo>
                    <a:pt x="7153" y="5713"/>
                  </a:lnTo>
                  <a:lnTo>
                    <a:pt x="7164" y="5620"/>
                  </a:lnTo>
                  <a:lnTo>
                    <a:pt x="7160" y="5558"/>
                  </a:lnTo>
                  <a:lnTo>
                    <a:pt x="7209" y="5420"/>
                  </a:lnTo>
                  <a:lnTo>
                    <a:pt x="7236" y="5423"/>
                  </a:lnTo>
                  <a:lnTo>
                    <a:pt x="7264" y="5451"/>
                  </a:lnTo>
                  <a:lnTo>
                    <a:pt x="7294" y="5451"/>
                  </a:lnTo>
                  <a:lnTo>
                    <a:pt x="7360" y="5396"/>
                  </a:lnTo>
                  <a:lnTo>
                    <a:pt x="7436" y="5441"/>
                  </a:lnTo>
                  <a:lnTo>
                    <a:pt x="7515" y="5703"/>
                  </a:lnTo>
                  <a:lnTo>
                    <a:pt x="7557" y="5710"/>
                  </a:lnTo>
                  <a:lnTo>
                    <a:pt x="7584" y="5771"/>
                  </a:lnTo>
                  <a:lnTo>
                    <a:pt x="7632" y="5775"/>
                  </a:lnTo>
                  <a:lnTo>
                    <a:pt x="7642" y="5765"/>
                  </a:lnTo>
                  <a:lnTo>
                    <a:pt x="7748" y="5737"/>
                  </a:lnTo>
                  <a:lnTo>
                    <a:pt x="7826" y="5675"/>
                  </a:lnTo>
                  <a:lnTo>
                    <a:pt x="7904" y="5577"/>
                  </a:lnTo>
                  <a:lnTo>
                    <a:pt x="7914" y="5646"/>
                  </a:lnTo>
                  <a:lnTo>
                    <a:pt x="7996" y="5598"/>
                  </a:lnTo>
                  <a:lnTo>
                    <a:pt x="7929" y="5694"/>
                  </a:lnTo>
                  <a:lnTo>
                    <a:pt x="7885" y="5745"/>
                  </a:lnTo>
                  <a:lnTo>
                    <a:pt x="7827" y="5836"/>
                  </a:lnTo>
                  <a:lnTo>
                    <a:pt x="7817" y="5929"/>
                  </a:lnTo>
                  <a:lnTo>
                    <a:pt x="7863" y="6003"/>
                  </a:lnTo>
                  <a:lnTo>
                    <a:pt x="7947" y="6030"/>
                  </a:lnTo>
                  <a:lnTo>
                    <a:pt x="8043" y="5854"/>
                  </a:lnTo>
                  <a:lnTo>
                    <a:pt x="8066" y="5773"/>
                  </a:lnTo>
                  <a:lnTo>
                    <a:pt x="8132" y="5750"/>
                  </a:lnTo>
                  <a:lnTo>
                    <a:pt x="8205" y="5669"/>
                  </a:lnTo>
                  <a:lnTo>
                    <a:pt x="8319" y="5570"/>
                  </a:lnTo>
                  <a:lnTo>
                    <a:pt x="8416" y="5495"/>
                  </a:lnTo>
                  <a:lnTo>
                    <a:pt x="8413" y="5421"/>
                  </a:lnTo>
                  <a:lnTo>
                    <a:pt x="8331" y="5399"/>
                  </a:lnTo>
                  <a:lnTo>
                    <a:pt x="8261" y="5408"/>
                  </a:lnTo>
                  <a:lnTo>
                    <a:pt x="8197" y="5470"/>
                  </a:lnTo>
                  <a:lnTo>
                    <a:pt x="8105" y="5486"/>
                  </a:lnTo>
                  <a:lnTo>
                    <a:pt x="7985" y="5457"/>
                  </a:lnTo>
                  <a:lnTo>
                    <a:pt x="7900" y="5451"/>
                  </a:lnTo>
                  <a:lnTo>
                    <a:pt x="7825" y="5370"/>
                  </a:lnTo>
                  <a:lnTo>
                    <a:pt x="7777" y="5260"/>
                  </a:lnTo>
                  <a:lnTo>
                    <a:pt x="7771" y="5173"/>
                  </a:lnTo>
                  <a:lnTo>
                    <a:pt x="7677" y="5241"/>
                  </a:lnTo>
                  <a:lnTo>
                    <a:pt x="7562" y="5173"/>
                  </a:lnTo>
                  <a:lnTo>
                    <a:pt x="7686" y="5130"/>
                  </a:lnTo>
                  <a:lnTo>
                    <a:pt x="7738" y="5076"/>
                  </a:lnTo>
                  <a:lnTo>
                    <a:pt x="7794" y="5001"/>
                  </a:lnTo>
                  <a:lnTo>
                    <a:pt x="7772" y="4936"/>
                  </a:lnTo>
                  <a:lnTo>
                    <a:pt x="7714" y="4904"/>
                  </a:lnTo>
                  <a:lnTo>
                    <a:pt x="7623" y="4901"/>
                  </a:lnTo>
                  <a:lnTo>
                    <a:pt x="7449" y="4997"/>
                  </a:lnTo>
                  <a:lnTo>
                    <a:pt x="7382" y="5071"/>
                  </a:lnTo>
                  <a:lnTo>
                    <a:pt x="7318" y="5126"/>
                  </a:lnTo>
                  <a:lnTo>
                    <a:pt x="7249" y="5201"/>
                  </a:lnTo>
                  <a:lnTo>
                    <a:pt x="7193" y="5286"/>
                  </a:lnTo>
                  <a:lnTo>
                    <a:pt x="7161" y="5382"/>
                  </a:lnTo>
                  <a:lnTo>
                    <a:pt x="7088" y="5542"/>
                  </a:lnTo>
                  <a:lnTo>
                    <a:pt x="7009" y="5597"/>
                  </a:lnTo>
                  <a:lnTo>
                    <a:pt x="7047" y="5518"/>
                  </a:lnTo>
                  <a:lnTo>
                    <a:pt x="7074" y="5442"/>
                  </a:lnTo>
                  <a:lnTo>
                    <a:pt x="7111" y="5362"/>
                  </a:lnTo>
                  <a:lnTo>
                    <a:pt x="7167" y="5189"/>
                  </a:lnTo>
                  <a:lnTo>
                    <a:pt x="7221" y="5104"/>
                  </a:lnTo>
                  <a:lnTo>
                    <a:pt x="7280" y="4998"/>
                  </a:lnTo>
                  <a:lnTo>
                    <a:pt x="7362" y="4972"/>
                  </a:lnTo>
                  <a:lnTo>
                    <a:pt x="7357" y="4884"/>
                  </a:lnTo>
                  <a:lnTo>
                    <a:pt x="7387" y="4803"/>
                  </a:lnTo>
                  <a:lnTo>
                    <a:pt x="7467" y="4741"/>
                  </a:lnTo>
                  <a:lnTo>
                    <a:pt x="7616" y="4687"/>
                  </a:lnTo>
                  <a:lnTo>
                    <a:pt x="7699" y="4637"/>
                  </a:lnTo>
                  <a:lnTo>
                    <a:pt x="7774" y="4626"/>
                  </a:lnTo>
                  <a:lnTo>
                    <a:pt x="7921" y="4567"/>
                  </a:lnTo>
                  <a:lnTo>
                    <a:pt x="7992" y="4574"/>
                  </a:lnTo>
                  <a:lnTo>
                    <a:pt x="8073" y="4520"/>
                  </a:lnTo>
                  <a:lnTo>
                    <a:pt x="8180" y="4472"/>
                  </a:lnTo>
                  <a:lnTo>
                    <a:pt x="8210" y="4383"/>
                  </a:lnTo>
                  <a:lnTo>
                    <a:pt x="8249" y="4212"/>
                  </a:lnTo>
                  <a:lnTo>
                    <a:pt x="8320" y="4119"/>
                  </a:lnTo>
                  <a:lnTo>
                    <a:pt x="8423" y="4046"/>
                  </a:lnTo>
                  <a:lnTo>
                    <a:pt x="8496" y="3869"/>
                  </a:lnTo>
                  <a:lnTo>
                    <a:pt x="8398" y="3766"/>
                  </a:lnTo>
                  <a:lnTo>
                    <a:pt x="8376" y="3679"/>
                  </a:lnTo>
                  <a:lnTo>
                    <a:pt x="8261" y="3626"/>
                  </a:lnTo>
                  <a:lnTo>
                    <a:pt x="8183" y="3667"/>
                  </a:lnTo>
                  <a:lnTo>
                    <a:pt x="8137" y="3596"/>
                  </a:lnTo>
                  <a:lnTo>
                    <a:pt x="8025" y="3635"/>
                  </a:lnTo>
                  <a:lnTo>
                    <a:pt x="8082" y="3528"/>
                  </a:lnTo>
                  <a:lnTo>
                    <a:pt x="8008" y="3509"/>
                  </a:lnTo>
                  <a:lnTo>
                    <a:pt x="7908" y="3542"/>
                  </a:lnTo>
                  <a:lnTo>
                    <a:pt x="7844" y="3497"/>
                  </a:lnTo>
                  <a:lnTo>
                    <a:pt x="7726" y="3536"/>
                  </a:lnTo>
                  <a:lnTo>
                    <a:pt x="7675" y="3466"/>
                  </a:lnTo>
                  <a:lnTo>
                    <a:pt x="7571" y="3460"/>
                  </a:lnTo>
                  <a:lnTo>
                    <a:pt x="7502" y="3417"/>
                  </a:lnTo>
                  <a:lnTo>
                    <a:pt x="7461" y="3324"/>
                  </a:lnTo>
                  <a:lnTo>
                    <a:pt x="7475" y="3243"/>
                  </a:lnTo>
                  <a:lnTo>
                    <a:pt x="7405" y="3219"/>
                  </a:lnTo>
                  <a:lnTo>
                    <a:pt x="7378" y="3156"/>
                  </a:lnTo>
                  <a:lnTo>
                    <a:pt x="7304" y="3116"/>
                  </a:lnTo>
                  <a:lnTo>
                    <a:pt x="7216" y="3045"/>
                  </a:lnTo>
                  <a:lnTo>
                    <a:pt x="7138" y="2971"/>
                  </a:lnTo>
                  <a:lnTo>
                    <a:pt x="7045" y="2900"/>
                  </a:lnTo>
                  <a:lnTo>
                    <a:pt x="6905" y="2777"/>
                  </a:lnTo>
                  <a:lnTo>
                    <a:pt x="6884" y="2858"/>
                  </a:lnTo>
                  <a:lnTo>
                    <a:pt x="6863" y="2921"/>
                  </a:lnTo>
                  <a:lnTo>
                    <a:pt x="6919" y="2971"/>
                  </a:lnTo>
                  <a:lnTo>
                    <a:pt x="6910" y="3065"/>
                  </a:lnTo>
                  <a:lnTo>
                    <a:pt x="6856" y="3139"/>
                  </a:lnTo>
                  <a:lnTo>
                    <a:pt x="6846" y="3214"/>
                  </a:lnTo>
                  <a:lnTo>
                    <a:pt x="6765" y="3297"/>
                  </a:lnTo>
                  <a:lnTo>
                    <a:pt x="6662" y="3208"/>
                  </a:lnTo>
                  <a:lnTo>
                    <a:pt x="6601" y="3212"/>
                  </a:lnTo>
                  <a:lnTo>
                    <a:pt x="6526" y="3148"/>
                  </a:lnTo>
                  <a:lnTo>
                    <a:pt x="6507" y="3085"/>
                  </a:lnTo>
                  <a:lnTo>
                    <a:pt x="6484" y="2987"/>
                  </a:lnTo>
                  <a:lnTo>
                    <a:pt x="6436" y="2916"/>
                  </a:lnTo>
                  <a:lnTo>
                    <a:pt x="6425" y="2831"/>
                  </a:lnTo>
                  <a:lnTo>
                    <a:pt x="6351" y="2838"/>
                  </a:lnTo>
                  <a:lnTo>
                    <a:pt x="6283" y="2859"/>
                  </a:lnTo>
                  <a:lnTo>
                    <a:pt x="6200" y="2831"/>
                  </a:lnTo>
                  <a:lnTo>
                    <a:pt x="6204" y="2761"/>
                  </a:lnTo>
                  <a:lnTo>
                    <a:pt x="6123" y="2733"/>
                  </a:lnTo>
                  <a:lnTo>
                    <a:pt x="6046" y="2686"/>
                  </a:lnTo>
                  <a:lnTo>
                    <a:pt x="5967" y="2655"/>
                  </a:lnTo>
                  <a:lnTo>
                    <a:pt x="5871" y="2714"/>
                  </a:lnTo>
                  <a:lnTo>
                    <a:pt x="5811" y="2728"/>
                  </a:lnTo>
                  <a:lnTo>
                    <a:pt x="5722" y="2714"/>
                  </a:lnTo>
                  <a:lnTo>
                    <a:pt x="5629" y="2716"/>
                  </a:lnTo>
                  <a:lnTo>
                    <a:pt x="5578" y="2776"/>
                  </a:lnTo>
                  <a:lnTo>
                    <a:pt x="5593" y="2857"/>
                  </a:lnTo>
                  <a:lnTo>
                    <a:pt x="5656" y="2895"/>
                  </a:lnTo>
                  <a:lnTo>
                    <a:pt x="5648" y="2980"/>
                  </a:lnTo>
                  <a:lnTo>
                    <a:pt x="5632" y="3067"/>
                  </a:lnTo>
                  <a:lnTo>
                    <a:pt x="5689" y="3107"/>
                  </a:lnTo>
                  <a:lnTo>
                    <a:pt x="5724" y="3201"/>
                  </a:lnTo>
                  <a:lnTo>
                    <a:pt x="5739" y="3282"/>
                  </a:lnTo>
                  <a:lnTo>
                    <a:pt x="5704" y="3371"/>
                  </a:lnTo>
                  <a:lnTo>
                    <a:pt x="5641" y="3401"/>
                  </a:lnTo>
                  <a:lnTo>
                    <a:pt x="5644" y="3466"/>
                  </a:lnTo>
                  <a:lnTo>
                    <a:pt x="5714" y="3520"/>
                  </a:lnTo>
                  <a:lnTo>
                    <a:pt x="5780" y="3542"/>
                  </a:lnTo>
                  <a:lnTo>
                    <a:pt x="5836" y="3649"/>
                  </a:lnTo>
                  <a:lnTo>
                    <a:pt x="5917" y="3835"/>
                  </a:lnTo>
                  <a:lnTo>
                    <a:pt x="5943" y="3964"/>
                  </a:lnTo>
                  <a:lnTo>
                    <a:pt x="5903" y="4056"/>
                  </a:lnTo>
                  <a:lnTo>
                    <a:pt x="5835" y="4152"/>
                  </a:lnTo>
                  <a:lnTo>
                    <a:pt x="5763" y="4231"/>
                  </a:lnTo>
                  <a:lnTo>
                    <a:pt x="5686" y="4294"/>
                  </a:lnTo>
                  <a:lnTo>
                    <a:pt x="5736" y="4368"/>
                  </a:lnTo>
                  <a:lnTo>
                    <a:pt x="5778" y="4446"/>
                  </a:lnTo>
                  <a:lnTo>
                    <a:pt x="5805" y="4558"/>
                  </a:lnTo>
                  <a:lnTo>
                    <a:pt x="5820" y="4655"/>
                  </a:lnTo>
                  <a:lnTo>
                    <a:pt x="5886" y="4745"/>
                  </a:lnTo>
                  <a:lnTo>
                    <a:pt x="5831" y="4854"/>
                  </a:lnTo>
                  <a:lnTo>
                    <a:pt x="5739" y="4934"/>
                  </a:lnTo>
                  <a:lnTo>
                    <a:pt x="5758" y="4998"/>
                  </a:lnTo>
                  <a:lnTo>
                    <a:pt x="5668" y="4944"/>
                  </a:lnTo>
                  <a:lnTo>
                    <a:pt x="5616" y="4868"/>
                  </a:lnTo>
                  <a:lnTo>
                    <a:pt x="5548" y="4810"/>
                  </a:lnTo>
                  <a:lnTo>
                    <a:pt x="5488" y="4734"/>
                  </a:lnTo>
                  <a:lnTo>
                    <a:pt x="5400" y="4662"/>
                  </a:lnTo>
                  <a:lnTo>
                    <a:pt x="5408" y="4562"/>
                  </a:lnTo>
                  <a:lnTo>
                    <a:pt x="5399" y="4479"/>
                  </a:lnTo>
                  <a:lnTo>
                    <a:pt x="5361" y="4402"/>
                  </a:lnTo>
                  <a:lnTo>
                    <a:pt x="5374" y="4252"/>
                  </a:lnTo>
                  <a:lnTo>
                    <a:pt x="5274" y="4213"/>
                  </a:lnTo>
                  <a:lnTo>
                    <a:pt x="5050" y="4232"/>
                  </a:lnTo>
                  <a:lnTo>
                    <a:pt x="4933" y="4158"/>
                  </a:lnTo>
                  <a:lnTo>
                    <a:pt x="4838" y="4130"/>
                  </a:lnTo>
                  <a:lnTo>
                    <a:pt x="4764" y="4099"/>
                  </a:lnTo>
                  <a:lnTo>
                    <a:pt x="4697" y="4019"/>
                  </a:lnTo>
                  <a:lnTo>
                    <a:pt x="4595" y="3957"/>
                  </a:lnTo>
                  <a:lnTo>
                    <a:pt x="4487" y="3924"/>
                  </a:lnTo>
                  <a:lnTo>
                    <a:pt x="4380" y="3858"/>
                  </a:lnTo>
                  <a:lnTo>
                    <a:pt x="4299" y="3890"/>
                  </a:lnTo>
                  <a:lnTo>
                    <a:pt x="4235" y="3920"/>
                  </a:lnTo>
                  <a:lnTo>
                    <a:pt x="4238" y="3855"/>
                  </a:lnTo>
                  <a:lnTo>
                    <a:pt x="4205" y="3771"/>
                  </a:lnTo>
                  <a:lnTo>
                    <a:pt x="4208" y="3690"/>
                  </a:lnTo>
                  <a:lnTo>
                    <a:pt x="4171" y="3573"/>
                  </a:lnTo>
                  <a:lnTo>
                    <a:pt x="4103" y="3554"/>
                  </a:lnTo>
                  <a:lnTo>
                    <a:pt x="4033" y="3566"/>
                  </a:lnTo>
                  <a:lnTo>
                    <a:pt x="4005" y="3482"/>
                  </a:lnTo>
                  <a:lnTo>
                    <a:pt x="4012" y="3383"/>
                  </a:lnTo>
                  <a:lnTo>
                    <a:pt x="4029" y="3270"/>
                  </a:lnTo>
                  <a:lnTo>
                    <a:pt x="4087" y="3109"/>
                  </a:lnTo>
                  <a:lnTo>
                    <a:pt x="4141" y="3014"/>
                  </a:lnTo>
                  <a:lnTo>
                    <a:pt x="4192" y="2935"/>
                  </a:lnTo>
                  <a:lnTo>
                    <a:pt x="4256" y="2905"/>
                  </a:lnTo>
                  <a:lnTo>
                    <a:pt x="4259" y="2807"/>
                  </a:lnTo>
                  <a:lnTo>
                    <a:pt x="4435" y="2745"/>
                  </a:lnTo>
                  <a:lnTo>
                    <a:pt x="4428" y="2647"/>
                  </a:lnTo>
                  <a:lnTo>
                    <a:pt x="4487" y="2532"/>
                  </a:lnTo>
                  <a:lnTo>
                    <a:pt x="4617" y="2531"/>
                  </a:lnTo>
                  <a:lnTo>
                    <a:pt x="4738" y="2330"/>
                  </a:lnTo>
                  <a:lnTo>
                    <a:pt x="4733" y="2232"/>
                  </a:lnTo>
                  <a:lnTo>
                    <a:pt x="4807" y="2096"/>
                  </a:lnTo>
                  <a:lnTo>
                    <a:pt x="4743" y="2034"/>
                  </a:lnTo>
                  <a:lnTo>
                    <a:pt x="4840" y="2012"/>
                  </a:lnTo>
                  <a:lnTo>
                    <a:pt x="4877" y="2058"/>
                  </a:lnTo>
                  <a:lnTo>
                    <a:pt x="4986" y="2082"/>
                  </a:lnTo>
                  <a:lnTo>
                    <a:pt x="5062" y="1991"/>
                  </a:lnTo>
                  <a:lnTo>
                    <a:pt x="5148" y="1897"/>
                  </a:lnTo>
                  <a:lnTo>
                    <a:pt x="5151" y="1781"/>
                  </a:lnTo>
                  <a:lnTo>
                    <a:pt x="5052" y="1744"/>
                  </a:lnTo>
                  <a:lnTo>
                    <a:pt x="5040" y="1647"/>
                  </a:lnTo>
                  <a:lnTo>
                    <a:pt x="5111" y="1587"/>
                  </a:lnTo>
                  <a:lnTo>
                    <a:pt x="5094" y="1467"/>
                  </a:lnTo>
                  <a:lnTo>
                    <a:pt x="4993" y="1453"/>
                  </a:lnTo>
                  <a:lnTo>
                    <a:pt x="4973" y="1390"/>
                  </a:lnTo>
                  <a:lnTo>
                    <a:pt x="4879" y="1367"/>
                  </a:lnTo>
                  <a:lnTo>
                    <a:pt x="4794" y="1373"/>
                  </a:lnTo>
                  <a:lnTo>
                    <a:pt x="4801" y="1472"/>
                  </a:lnTo>
                  <a:lnTo>
                    <a:pt x="4815" y="1586"/>
                  </a:lnTo>
                  <a:lnTo>
                    <a:pt x="4824" y="1701"/>
                  </a:lnTo>
                  <a:lnTo>
                    <a:pt x="4748" y="1771"/>
                  </a:lnTo>
                  <a:lnTo>
                    <a:pt x="4753" y="1853"/>
                  </a:lnTo>
                  <a:lnTo>
                    <a:pt x="4698" y="1889"/>
                  </a:lnTo>
                  <a:lnTo>
                    <a:pt x="4624" y="1776"/>
                  </a:lnTo>
                  <a:lnTo>
                    <a:pt x="4633" y="1678"/>
                  </a:lnTo>
                  <a:lnTo>
                    <a:pt x="4631" y="1596"/>
                  </a:lnTo>
                  <a:lnTo>
                    <a:pt x="4563" y="1499"/>
                  </a:lnTo>
                  <a:lnTo>
                    <a:pt x="4492" y="1631"/>
                  </a:lnTo>
                  <a:lnTo>
                    <a:pt x="4395" y="1450"/>
                  </a:lnTo>
                  <a:lnTo>
                    <a:pt x="4322" y="1398"/>
                  </a:lnTo>
                  <a:lnTo>
                    <a:pt x="4397" y="1318"/>
                  </a:lnTo>
                  <a:lnTo>
                    <a:pt x="4362" y="1219"/>
                  </a:lnTo>
                  <a:lnTo>
                    <a:pt x="4315" y="1152"/>
                  </a:lnTo>
                  <a:lnTo>
                    <a:pt x="4267" y="1068"/>
                  </a:lnTo>
                  <a:lnTo>
                    <a:pt x="4231" y="966"/>
                  </a:lnTo>
                  <a:lnTo>
                    <a:pt x="4178" y="978"/>
                  </a:lnTo>
                  <a:lnTo>
                    <a:pt x="4122" y="1040"/>
                  </a:lnTo>
                  <a:lnTo>
                    <a:pt x="4085" y="1141"/>
                  </a:lnTo>
                  <a:lnTo>
                    <a:pt x="4040" y="1246"/>
                  </a:lnTo>
                  <a:lnTo>
                    <a:pt x="4101" y="1367"/>
                  </a:lnTo>
                  <a:lnTo>
                    <a:pt x="4209" y="1458"/>
                  </a:lnTo>
                  <a:lnTo>
                    <a:pt x="4157" y="1536"/>
                  </a:lnTo>
                  <a:lnTo>
                    <a:pt x="4179" y="1637"/>
                  </a:lnTo>
                  <a:lnTo>
                    <a:pt x="4105" y="1730"/>
                  </a:lnTo>
                  <a:lnTo>
                    <a:pt x="4080" y="1731"/>
                  </a:lnTo>
                  <a:lnTo>
                    <a:pt x="4046" y="1824"/>
                  </a:lnTo>
                  <a:lnTo>
                    <a:pt x="3978" y="1754"/>
                  </a:lnTo>
                  <a:lnTo>
                    <a:pt x="3984" y="1642"/>
                  </a:lnTo>
                  <a:lnTo>
                    <a:pt x="3910" y="1594"/>
                  </a:lnTo>
                  <a:lnTo>
                    <a:pt x="3854" y="1652"/>
                  </a:lnTo>
                  <a:lnTo>
                    <a:pt x="3831" y="1765"/>
                  </a:lnTo>
                  <a:lnTo>
                    <a:pt x="3736" y="1768"/>
                  </a:lnTo>
                  <a:lnTo>
                    <a:pt x="3612" y="1712"/>
                  </a:lnTo>
                  <a:lnTo>
                    <a:pt x="3532" y="1639"/>
                  </a:lnTo>
                  <a:lnTo>
                    <a:pt x="3433" y="1552"/>
                  </a:lnTo>
                  <a:lnTo>
                    <a:pt x="3384" y="1427"/>
                  </a:lnTo>
                  <a:lnTo>
                    <a:pt x="3189" y="1437"/>
                  </a:lnTo>
                  <a:lnTo>
                    <a:pt x="3116" y="1484"/>
                  </a:lnTo>
                  <a:lnTo>
                    <a:pt x="3184" y="1556"/>
                  </a:lnTo>
                  <a:lnTo>
                    <a:pt x="3137" y="1628"/>
                  </a:lnTo>
                  <a:lnTo>
                    <a:pt x="3069" y="1572"/>
                  </a:lnTo>
                  <a:lnTo>
                    <a:pt x="3014" y="1502"/>
                  </a:lnTo>
                  <a:lnTo>
                    <a:pt x="2909" y="1500"/>
                  </a:lnTo>
                  <a:lnTo>
                    <a:pt x="2798" y="1493"/>
                  </a:lnTo>
                  <a:lnTo>
                    <a:pt x="2730" y="1430"/>
                  </a:lnTo>
                  <a:lnTo>
                    <a:pt x="2650" y="1395"/>
                  </a:lnTo>
                  <a:lnTo>
                    <a:pt x="2693" y="1342"/>
                  </a:lnTo>
                  <a:lnTo>
                    <a:pt x="2771" y="1346"/>
                  </a:lnTo>
                  <a:lnTo>
                    <a:pt x="2763" y="1252"/>
                  </a:lnTo>
                  <a:lnTo>
                    <a:pt x="2696" y="1169"/>
                  </a:lnTo>
                  <a:lnTo>
                    <a:pt x="2603" y="1117"/>
                  </a:lnTo>
                  <a:lnTo>
                    <a:pt x="2539" y="1036"/>
                  </a:lnTo>
                  <a:lnTo>
                    <a:pt x="2474" y="946"/>
                  </a:lnTo>
                  <a:lnTo>
                    <a:pt x="2445" y="845"/>
                  </a:lnTo>
                  <a:lnTo>
                    <a:pt x="2346" y="787"/>
                  </a:lnTo>
                  <a:lnTo>
                    <a:pt x="2268" y="848"/>
                  </a:lnTo>
                  <a:lnTo>
                    <a:pt x="2224" y="809"/>
                  </a:lnTo>
                  <a:lnTo>
                    <a:pt x="2283" y="707"/>
                  </a:lnTo>
                  <a:lnTo>
                    <a:pt x="2166" y="771"/>
                  </a:lnTo>
                  <a:lnTo>
                    <a:pt x="2137" y="710"/>
                  </a:lnTo>
                  <a:lnTo>
                    <a:pt x="2165" y="608"/>
                  </a:lnTo>
                  <a:lnTo>
                    <a:pt x="2151" y="473"/>
                  </a:lnTo>
                  <a:lnTo>
                    <a:pt x="2055" y="547"/>
                  </a:lnTo>
                  <a:lnTo>
                    <a:pt x="1986" y="536"/>
                  </a:lnTo>
                  <a:lnTo>
                    <a:pt x="2014" y="452"/>
                  </a:lnTo>
                  <a:lnTo>
                    <a:pt x="1796" y="423"/>
                  </a:lnTo>
                  <a:lnTo>
                    <a:pt x="1720" y="433"/>
                  </a:lnTo>
                  <a:lnTo>
                    <a:pt x="1704" y="397"/>
                  </a:lnTo>
                  <a:lnTo>
                    <a:pt x="1642" y="414"/>
                  </a:lnTo>
                  <a:lnTo>
                    <a:pt x="1559" y="426"/>
                  </a:lnTo>
                  <a:lnTo>
                    <a:pt x="1496" y="398"/>
                  </a:lnTo>
                  <a:lnTo>
                    <a:pt x="1464" y="293"/>
                  </a:lnTo>
                  <a:lnTo>
                    <a:pt x="1459" y="196"/>
                  </a:lnTo>
                  <a:lnTo>
                    <a:pt x="1443" y="98"/>
                  </a:lnTo>
                  <a:lnTo>
                    <a:pt x="1394" y="0"/>
                  </a:lnTo>
                  <a:lnTo>
                    <a:pt x="1027" y="334"/>
                  </a:lnTo>
                  <a:lnTo>
                    <a:pt x="689" y="653"/>
                  </a:lnTo>
                  <a:lnTo>
                    <a:pt x="353" y="979"/>
                  </a:lnTo>
                  <a:lnTo>
                    <a:pt x="27" y="1307"/>
                  </a:lnTo>
                  <a:lnTo>
                    <a:pt x="10" y="1359"/>
                  </a:lnTo>
                  <a:lnTo>
                    <a:pt x="34" y="1378"/>
                  </a:lnTo>
                  <a:lnTo>
                    <a:pt x="48" y="1405"/>
                  </a:lnTo>
                  <a:lnTo>
                    <a:pt x="72" y="1423"/>
                  </a:lnTo>
                  <a:lnTo>
                    <a:pt x="106" y="1439"/>
                  </a:lnTo>
                  <a:lnTo>
                    <a:pt x="128" y="1462"/>
                  </a:lnTo>
                  <a:lnTo>
                    <a:pt x="91" y="1512"/>
                  </a:lnTo>
                  <a:lnTo>
                    <a:pt x="93" y="1548"/>
                  </a:lnTo>
                  <a:lnTo>
                    <a:pt x="83" y="1596"/>
                  </a:lnTo>
                  <a:lnTo>
                    <a:pt x="77" y="1684"/>
                  </a:lnTo>
                  <a:lnTo>
                    <a:pt x="82" y="1725"/>
                  </a:lnTo>
                  <a:lnTo>
                    <a:pt x="64" y="1774"/>
                  </a:lnTo>
                  <a:lnTo>
                    <a:pt x="83" y="1808"/>
                  </a:lnTo>
                  <a:lnTo>
                    <a:pt x="121" y="1808"/>
                  </a:lnTo>
                  <a:lnTo>
                    <a:pt x="149" y="1823"/>
                  </a:lnTo>
                  <a:lnTo>
                    <a:pt x="194" y="1802"/>
                  </a:lnTo>
                  <a:lnTo>
                    <a:pt x="239" y="1784"/>
                  </a:lnTo>
                  <a:lnTo>
                    <a:pt x="269" y="1798"/>
                  </a:lnTo>
                  <a:lnTo>
                    <a:pt x="302" y="1800"/>
                  </a:lnTo>
                  <a:lnTo>
                    <a:pt x="326" y="1817"/>
                  </a:lnTo>
                  <a:lnTo>
                    <a:pt x="318" y="1866"/>
                  </a:lnTo>
                  <a:lnTo>
                    <a:pt x="317" y="1910"/>
                  </a:lnTo>
                  <a:lnTo>
                    <a:pt x="308" y="1970"/>
                  </a:lnTo>
                  <a:lnTo>
                    <a:pt x="290" y="2027"/>
                  </a:lnTo>
                  <a:lnTo>
                    <a:pt x="304" y="2059"/>
                  </a:lnTo>
                  <a:lnTo>
                    <a:pt x="310" y="2097"/>
                  </a:lnTo>
                  <a:lnTo>
                    <a:pt x="296" y="2153"/>
                  </a:lnTo>
                  <a:lnTo>
                    <a:pt x="287" y="2205"/>
                  </a:lnTo>
                  <a:lnTo>
                    <a:pt x="282" y="2258"/>
                  </a:lnTo>
                  <a:lnTo>
                    <a:pt x="274" y="2311"/>
                  </a:lnTo>
                  <a:lnTo>
                    <a:pt x="262" y="2367"/>
                  </a:lnTo>
                  <a:lnTo>
                    <a:pt x="254" y="2419"/>
                  </a:lnTo>
                  <a:lnTo>
                    <a:pt x="236" y="2472"/>
                  </a:lnTo>
                  <a:lnTo>
                    <a:pt x="231" y="2519"/>
                  </a:lnTo>
                  <a:lnTo>
                    <a:pt x="217" y="2572"/>
                  </a:lnTo>
                  <a:lnTo>
                    <a:pt x="227" y="2614"/>
                  </a:lnTo>
                  <a:lnTo>
                    <a:pt x="272" y="2675"/>
                  </a:lnTo>
                  <a:lnTo>
                    <a:pt x="294" y="2760"/>
                  </a:lnTo>
                  <a:lnTo>
                    <a:pt x="315" y="2786"/>
                  </a:lnTo>
                  <a:lnTo>
                    <a:pt x="285" y="2846"/>
                  </a:lnTo>
                  <a:lnTo>
                    <a:pt x="250" y="2899"/>
                  </a:lnTo>
                  <a:lnTo>
                    <a:pt x="220" y="2953"/>
                  </a:lnTo>
                  <a:lnTo>
                    <a:pt x="204" y="2965"/>
                  </a:lnTo>
                  <a:lnTo>
                    <a:pt x="191" y="2992"/>
                  </a:lnTo>
                  <a:lnTo>
                    <a:pt x="104" y="3058"/>
                  </a:lnTo>
                  <a:lnTo>
                    <a:pt x="100" y="3119"/>
                  </a:lnTo>
                  <a:lnTo>
                    <a:pt x="15" y="3123"/>
                  </a:lnTo>
                  <a:lnTo>
                    <a:pt x="0" y="3240"/>
                  </a:lnTo>
                  <a:lnTo>
                    <a:pt x="29" y="3324"/>
                  </a:lnTo>
                  <a:lnTo>
                    <a:pt x="25" y="3469"/>
                  </a:lnTo>
                  <a:lnTo>
                    <a:pt x="75" y="3565"/>
                  </a:lnTo>
                  <a:lnTo>
                    <a:pt x="48" y="3672"/>
                  </a:lnTo>
                  <a:lnTo>
                    <a:pt x="58" y="3760"/>
                  </a:lnTo>
                  <a:lnTo>
                    <a:pt x="24" y="3821"/>
                  </a:lnTo>
                  <a:lnTo>
                    <a:pt x="70" y="3932"/>
                  </a:lnTo>
                  <a:lnTo>
                    <a:pt x="135" y="4012"/>
                  </a:lnTo>
                  <a:lnTo>
                    <a:pt x="194" y="4106"/>
                  </a:lnTo>
                  <a:lnTo>
                    <a:pt x="262" y="4303"/>
                  </a:lnTo>
                  <a:lnTo>
                    <a:pt x="306" y="4385"/>
                  </a:lnTo>
                  <a:lnTo>
                    <a:pt x="395" y="4374"/>
                  </a:lnTo>
                  <a:lnTo>
                    <a:pt x="351" y="4468"/>
                  </a:lnTo>
                  <a:lnTo>
                    <a:pt x="377" y="4540"/>
                  </a:lnTo>
                  <a:lnTo>
                    <a:pt x="374" y="4542"/>
                  </a:lnTo>
                  <a:lnTo>
                    <a:pt x="558" y="4632"/>
                  </a:lnTo>
                  <a:lnTo>
                    <a:pt x="762" y="4725"/>
                  </a:lnTo>
                  <a:lnTo>
                    <a:pt x="944" y="4802"/>
                  </a:lnTo>
                  <a:lnTo>
                    <a:pt x="1131" y="4878"/>
                  </a:lnTo>
                  <a:lnTo>
                    <a:pt x="1316" y="4946"/>
                  </a:lnTo>
                  <a:lnTo>
                    <a:pt x="1532" y="5021"/>
                  </a:lnTo>
                  <a:lnTo>
                    <a:pt x="1725" y="5081"/>
                  </a:lnTo>
                  <a:lnTo>
                    <a:pt x="1963" y="5150"/>
                  </a:lnTo>
                  <a:lnTo>
                    <a:pt x="2145" y="5198"/>
                  </a:lnTo>
                  <a:lnTo>
                    <a:pt x="2317" y="5239"/>
                  </a:lnTo>
                  <a:lnTo>
                    <a:pt x="2480" y="5275"/>
                  </a:lnTo>
                  <a:lnTo>
                    <a:pt x="2626" y="5305"/>
                  </a:lnTo>
                  <a:lnTo>
                    <a:pt x="2801" y="5337"/>
                  </a:lnTo>
                  <a:lnTo>
                    <a:pt x="2941" y="5361"/>
                  </a:lnTo>
                  <a:lnTo>
                    <a:pt x="3080" y="5381"/>
                  </a:lnTo>
                  <a:lnTo>
                    <a:pt x="3272" y="5407"/>
                  </a:lnTo>
                  <a:lnTo>
                    <a:pt x="3554" y="5438"/>
                  </a:lnTo>
                  <a:lnTo>
                    <a:pt x="3786" y="5458"/>
                  </a:lnTo>
                  <a:lnTo>
                    <a:pt x="3820" y="5426"/>
                  </a:lnTo>
                  <a:lnTo>
                    <a:pt x="3843" y="5380"/>
                  </a:lnTo>
                  <a:lnTo>
                    <a:pt x="3866" y="5437"/>
                  </a:lnTo>
                  <a:lnTo>
                    <a:pt x="3883" y="5492"/>
                  </a:lnTo>
                  <a:lnTo>
                    <a:pt x="3919" y="5518"/>
                  </a:lnTo>
                  <a:lnTo>
                    <a:pt x="3961" y="5525"/>
                  </a:lnTo>
                  <a:lnTo>
                    <a:pt x="3999" y="5544"/>
                  </a:lnTo>
                  <a:lnTo>
                    <a:pt x="4038" y="5550"/>
                  </a:lnTo>
                  <a:lnTo>
                    <a:pt x="4078" y="5539"/>
                  </a:lnTo>
                  <a:lnTo>
                    <a:pt x="4119" y="5545"/>
                  </a:lnTo>
                  <a:lnTo>
                    <a:pt x="4162" y="5570"/>
                  </a:lnTo>
                  <a:lnTo>
                    <a:pt x="4196" y="5595"/>
                  </a:lnTo>
                  <a:lnTo>
                    <a:pt x="4236" y="5620"/>
                  </a:lnTo>
                  <a:lnTo>
                    <a:pt x="4273" y="5649"/>
                  </a:lnTo>
                  <a:lnTo>
                    <a:pt x="4310" y="5664"/>
                  </a:lnTo>
                  <a:lnTo>
                    <a:pt x="4348" y="5647"/>
                  </a:lnTo>
                  <a:lnTo>
                    <a:pt x="4430" y="5663"/>
                  </a:lnTo>
                  <a:lnTo>
                    <a:pt x="4474" y="5663"/>
                  </a:lnTo>
                  <a:lnTo>
                    <a:pt x="4518" y="5678"/>
                  </a:lnTo>
                  <a:lnTo>
                    <a:pt x="4570" y="5654"/>
                  </a:lnTo>
                  <a:lnTo>
                    <a:pt x="4632" y="5562"/>
                  </a:lnTo>
                  <a:lnTo>
                    <a:pt x="4635" y="5606"/>
                  </a:lnTo>
                  <a:lnTo>
                    <a:pt x="4649" y="5599"/>
                  </a:lnTo>
                  <a:lnTo>
                    <a:pt x="4680" y="5530"/>
                  </a:lnTo>
                  <a:lnTo>
                    <a:pt x="4673" y="5571"/>
                  </a:lnTo>
                  <a:lnTo>
                    <a:pt x="4680" y="5589"/>
                  </a:lnTo>
                  <a:lnTo>
                    <a:pt x="4690" y="5582"/>
                  </a:lnTo>
                  <a:lnTo>
                    <a:pt x="4725" y="5538"/>
                  </a:lnTo>
                  <a:lnTo>
                    <a:pt x="4721" y="5492"/>
                  </a:lnTo>
                  <a:lnTo>
                    <a:pt x="4735" y="5475"/>
                  </a:lnTo>
                  <a:lnTo>
                    <a:pt x="4818" y="5503"/>
                  </a:lnTo>
                  <a:lnTo>
                    <a:pt x="4869" y="5606"/>
                  </a:lnTo>
                  <a:lnTo>
                    <a:pt x="4866" y="5513"/>
                  </a:lnTo>
                  <a:lnTo>
                    <a:pt x="4953" y="5524"/>
                  </a:lnTo>
                  <a:lnTo>
                    <a:pt x="5021" y="5654"/>
                  </a:lnTo>
                  <a:lnTo>
                    <a:pt x="5049" y="5672"/>
                  </a:lnTo>
                  <a:lnTo>
                    <a:pt x="5159" y="5654"/>
                  </a:lnTo>
                  <a:lnTo>
                    <a:pt x="5148" y="5724"/>
                  </a:lnTo>
                  <a:lnTo>
                    <a:pt x="5197" y="5782"/>
                  </a:lnTo>
                  <a:lnTo>
                    <a:pt x="5190" y="5823"/>
                  </a:lnTo>
                  <a:lnTo>
                    <a:pt x="5200" y="5854"/>
                  </a:lnTo>
                  <a:lnTo>
                    <a:pt x="5234" y="5872"/>
                  </a:lnTo>
                  <a:lnTo>
                    <a:pt x="5220" y="5892"/>
                  </a:lnTo>
                  <a:lnTo>
                    <a:pt x="5231" y="5899"/>
                  </a:lnTo>
                  <a:lnTo>
                    <a:pt x="5225" y="5920"/>
                  </a:lnTo>
                  <a:lnTo>
                    <a:pt x="5231" y="5947"/>
                  </a:lnTo>
                  <a:lnTo>
                    <a:pt x="5248" y="5944"/>
                  </a:lnTo>
                  <a:lnTo>
                    <a:pt x="5252" y="5927"/>
                  </a:lnTo>
                  <a:lnTo>
                    <a:pt x="5263" y="5927"/>
                  </a:lnTo>
                  <a:lnTo>
                    <a:pt x="5286" y="5982"/>
                  </a:lnTo>
                  <a:lnTo>
                    <a:pt x="5331" y="5968"/>
                  </a:lnTo>
                  <a:lnTo>
                    <a:pt x="5417" y="5996"/>
                  </a:lnTo>
                  <a:lnTo>
                    <a:pt x="5469" y="5982"/>
                  </a:lnTo>
                  <a:lnTo>
                    <a:pt x="5568" y="5999"/>
                  </a:lnTo>
                  <a:lnTo>
                    <a:pt x="5634" y="5993"/>
                  </a:lnTo>
                  <a:lnTo>
                    <a:pt x="5641" y="6016"/>
                  </a:lnTo>
                  <a:lnTo>
                    <a:pt x="5744" y="6013"/>
                  </a:lnTo>
                  <a:lnTo>
                    <a:pt x="5768" y="6023"/>
                  </a:lnTo>
                  <a:lnTo>
                    <a:pt x="5790" y="6068"/>
                  </a:lnTo>
                  <a:lnTo>
                    <a:pt x="5831" y="6103"/>
                  </a:lnTo>
                  <a:lnTo>
                    <a:pt x="5862" y="6106"/>
                  </a:lnTo>
                  <a:lnTo>
                    <a:pt x="5875" y="6144"/>
                  </a:lnTo>
                  <a:lnTo>
                    <a:pt x="5868" y="6153"/>
                  </a:lnTo>
                  <a:lnTo>
                    <a:pt x="5924" y="6205"/>
                  </a:lnTo>
                  <a:lnTo>
                    <a:pt x="5895" y="6216"/>
                  </a:lnTo>
                  <a:lnTo>
                    <a:pt x="5872" y="6210"/>
                  </a:lnTo>
                  <a:lnTo>
                    <a:pt x="5886" y="6254"/>
                  </a:lnTo>
                  <a:lnTo>
                    <a:pt x="5878" y="6271"/>
                  </a:lnTo>
                  <a:lnTo>
                    <a:pt x="5810" y="6268"/>
                  </a:lnTo>
                  <a:lnTo>
                    <a:pt x="5779" y="6243"/>
                  </a:lnTo>
                  <a:lnTo>
                    <a:pt x="5755" y="6271"/>
                  </a:lnTo>
                  <a:lnTo>
                    <a:pt x="5747" y="6233"/>
                  </a:lnTo>
                  <a:lnTo>
                    <a:pt x="5738" y="6237"/>
                  </a:lnTo>
                  <a:lnTo>
                    <a:pt x="5738" y="6199"/>
                  </a:lnTo>
                  <a:lnTo>
                    <a:pt x="5717" y="6216"/>
                  </a:lnTo>
                  <a:lnTo>
                    <a:pt x="5689" y="6153"/>
                  </a:lnTo>
                  <a:lnTo>
                    <a:pt x="5648" y="6150"/>
                  </a:lnTo>
                  <a:lnTo>
                    <a:pt x="5692" y="6254"/>
                  </a:lnTo>
                  <a:lnTo>
                    <a:pt x="5686" y="6295"/>
                  </a:lnTo>
                  <a:lnTo>
                    <a:pt x="5648" y="6371"/>
                  </a:lnTo>
                  <a:lnTo>
                    <a:pt x="5665" y="6485"/>
                  </a:lnTo>
                  <a:lnTo>
                    <a:pt x="5662" y="6529"/>
                  </a:lnTo>
                  <a:lnTo>
                    <a:pt x="5600" y="6588"/>
                  </a:lnTo>
                  <a:lnTo>
                    <a:pt x="5573" y="6595"/>
                  </a:lnTo>
                  <a:lnTo>
                    <a:pt x="5565" y="6685"/>
                  </a:lnTo>
                  <a:lnTo>
                    <a:pt x="5585" y="6715"/>
                  </a:lnTo>
                  <a:lnTo>
                    <a:pt x="5582" y="6740"/>
                  </a:lnTo>
                  <a:lnTo>
                    <a:pt x="5548" y="6750"/>
                  </a:lnTo>
                  <a:lnTo>
                    <a:pt x="5517" y="6736"/>
                  </a:lnTo>
                  <a:lnTo>
                    <a:pt x="5493" y="6784"/>
                  </a:lnTo>
                  <a:lnTo>
                    <a:pt x="5493" y="6815"/>
                  </a:lnTo>
                  <a:lnTo>
                    <a:pt x="5593" y="6812"/>
                  </a:lnTo>
                  <a:lnTo>
                    <a:pt x="5648" y="6746"/>
                  </a:lnTo>
                  <a:lnTo>
                    <a:pt x="5686" y="6736"/>
                  </a:lnTo>
                  <a:lnTo>
                    <a:pt x="5710" y="6685"/>
                  </a:lnTo>
                  <a:lnTo>
                    <a:pt x="5772" y="6653"/>
                  </a:lnTo>
                  <a:lnTo>
                    <a:pt x="5858" y="6663"/>
                  </a:lnTo>
                  <a:lnTo>
                    <a:pt x="5924" y="6605"/>
                  </a:lnTo>
                  <a:lnTo>
                    <a:pt x="6016" y="6584"/>
                  </a:lnTo>
                  <a:lnTo>
                    <a:pt x="6095" y="6588"/>
                  </a:lnTo>
                  <a:lnTo>
                    <a:pt x="6057" y="6509"/>
                  </a:lnTo>
                  <a:lnTo>
                    <a:pt x="6010" y="6523"/>
                  </a:lnTo>
                  <a:lnTo>
                    <a:pt x="5947" y="6512"/>
                  </a:lnTo>
                  <a:lnTo>
                    <a:pt x="6027" y="6405"/>
                  </a:lnTo>
                  <a:lnTo>
                    <a:pt x="6168" y="6344"/>
                  </a:lnTo>
                  <a:lnTo>
                    <a:pt x="6326" y="6333"/>
                  </a:lnTo>
                  <a:lnTo>
                    <a:pt x="6292" y="6288"/>
                  </a:lnTo>
                  <a:lnTo>
                    <a:pt x="6323" y="6281"/>
                  </a:lnTo>
                  <a:lnTo>
                    <a:pt x="6333" y="6295"/>
                  </a:lnTo>
                  <a:lnTo>
                    <a:pt x="6457" y="6219"/>
                  </a:lnTo>
                  <a:lnTo>
                    <a:pt x="6485" y="6175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3" name="Freeform 55">
              <a:extLst>
                <a:ext uri="{FF2B5EF4-FFF2-40B4-BE49-F238E27FC236}">
                  <a16:creationId xmlns:a16="http://schemas.microsoft.com/office/drawing/2014/main" id="{7C0B7B4E-A347-48DA-AE15-2CE8145620F4}"/>
                </a:ext>
              </a:extLst>
            </p:cNvPr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4812714" y="4108852"/>
              <a:ext cx="52396" cy="19496"/>
            </a:xfrm>
            <a:custGeom>
              <a:avLst/>
              <a:gdLst/>
              <a:ahLst/>
              <a:cxnLst>
                <a:cxn ang="0">
                  <a:pos x="142" y="14"/>
                </a:cxn>
                <a:cxn ang="0">
                  <a:pos x="170" y="0"/>
                </a:cxn>
                <a:cxn ang="0">
                  <a:pos x="180" y="62"/>
                </a:cxn>
                <a:cxn ang="0">
                  <a:pos x="187" y="52"/>
                </a:cxn>
                <a:cxn ang="0">
                  <a:pos x="197" y="17"/>
                </a:cxn>
                <a:cxn ang="0">
                  <a:pos x="208" y="14"/>
                </a:cxn>
                <a:cxn ang="0">
                  <a:pos x="191" y="80"/>
                </a:cxn>
                <a:cxn ang="0">
                  <a:pos x="87" y="66"/>
                </a:cxn>
                <a:cxn ang="0">
                  <a:pos x="0" y="28"/>
                </a:cxn>
                <a:cxn ang="0">
                  <a:pos x="142" y="14"/>
                </a:cxn>
              </a:cxnLst>
              <a:rect l="0" t="0" r="r" b="b"/>
              <a:pathLst>
                <a:path w="208" h="80">
                  <a:moveTo>
                    <a:pt x="142" y="14"/>
                  </a:moveTo>
                  <a:lnTo>
                    <a:pt x="170" y="0"/>
                  </a:lnTo>
                  <a:lnTo>
                    <a:pt x="180" y="62"/>
                  </a:lnTo>
                  <a:lnTo>
                    <a:pt x="187" y="52"/>
                  </a:lnTo>
                  <a:lnTo>
                    <a:pt x="197" y="17"/>
                  </a:lnTo>
                  <a:lnTo>
                    <a:pt x="208" y="14"/>
                  </a:lnTo>
                  <a:lnTo>
                    <a:pt x="191" y="80"/>
                  </a:lnTo>
                  <a:lnTo>
                    <a:pt x="87" y="66"/>
                  </a:lnTo>
                  <a:lnTo>
                    <a:pt x="0" y="28"/>
                  </a:lnTo>
                  <a:lnTo>
                    <a:pt x="142" y="14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4" name="Freeform 56">
              <a:extLst>
                <a:ext uri="{FF2B5EF4-FFF2-40B4-BE49-F238E27FC236}">
                  <a16:creationId xmlns:a16="http://schemas.microsoft.com/office/drawing/2014/main" id="{4EC5D107-4341-475D-A86A-B97CDF932D9D}"/>
                </a:ext>
              </a:extLst>
            </p:cNvPr>
            <p:cNvSpPr>
              <a:spLocks/>
            </p:cNvSpPr>
            <p:nvPr>
              <p:custDataLst>
                <p:tags r:id="rId33"/>
              </p:custDataLst>
            </p:nvPr>
          </p:nvSpPr>
          <p:spPr bwMode="auto">
            <a:xfrm>
              <a:off x="4812714" y="4108852"/>
              <a:ext cx="52396" cy="19496"/>
            </a:xfrm>
            <a:custGeom>
              <a:avLst/>
              <a:gdLst/>
              <a:ahLst/>
              <a:cxnLst>
                <a:cxn ang="0">
                  <a:pos x="142" y="14"/>
                </a:cxn>
                <a:cxn ang="0">
                  <a:pos x="170" y="0"/>
                </a:cxn>
                <a:cxn ang="0">
                  <a:pos x="180" y="62"/>
                </a:cxn>
                <a:cxn ang="0">
                  <a:pos x="187" y="52"/>
                </a:cxn>
                <a:cxn ang="0">
                  <a:pos x="197" y="17"/>
                </a:cxn>
                <a:cxn ang="0">
                  <a:pos x="208" y="14"/>
                </a:cxn>
                <a:cxn ang="0">
                  <a:pos x="191" y="80"/>
                </a:cxn>
                <a:cxn ang="0">
                  <a:pos x="87" y="66"/>
                </a:cxn>
                <a:cxn ang="0">
                  <a:pos x="0" y="28"/>
                </a:cxn>
                <a:cxn ang="0">
                  <a:pos x="142" y="14"/>
                </a:cxn>
              </a:cxnLst>
              <a:rect l="0" t="0" r="r" b="b"/>
              <a:pathLst>
                <a:path w="208" h="80">
                  <a:moveTo>
                    <a:pt x="142" y="14"/>
                  </a:moveTo>
                  <a:lnTo>
                    <a:pt x="170" y="0"/>
                  </a:lnTo>
                  <a:lnTo>
                    <a:pt x="180" y="62"/>
                  </a:lnTo>
                  <a:lnTo>
                    <a:pt x="187" y="52"/>
                  </a:lnTo>
                  <a:lnTo>
                    <a:pt x="197" y="17"/>
                  </a:lnTo>
                  <a:lnTo>
                    <a:pt x="208" y="14"/>
                  </a:lnTo>
                  <a:lnTo>
                    <a:pt x="191" y="80"/>
                  </a:lnTo>
                  <a:lnTo>
                    <a:pt x="87" y="66"/>
                  </a:lnTo>
                  <a:lnTo>
                    <a:pt x="0" y="28"/>
                  </a:lnTo>
                  <a:lnTo>
                    <a:pt x="142" y="14"/>
                  </a:lnTo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5" name="Freeform 57">
              <a:extLst>
                <a:ext uri="{FF2B5EF4-FFF2-40B4-BE49-F238E27FC236}">
                  <a16:creationId xmlns:a16="http://schemas.microsoft.com/office/drawing/2014/main" id="{93C44C24-6561-4749-B43B-F1ECFBAA0B42}"/>
                </a:ext>
              </a:extLst>
            </p:cNvPr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4811495" y="3761575"/>
              <a:ext cx="43866" cy="20716"/>
            </a:xfrm>
            <a:custGeom>
              <a:avLst/>
              <a:gdLst/>
              <a:ahLst/>
              <a:cxnLst>
                <a:cxn ang="0">
                  <a:pos x="11" y="21"/>
                </a:cxn>
                <a:cxn ang="0">
                  <a:pos x="66" y="0"/>
                </a:cxn>
                <a:cxn ang="0">
                  <a:pos x="121" y="7"/>
                </a:cxn>
                <a:cxn ang="0">
                  <a:pos x="170" y="84"/>
                </a:cxn>
                <a:cxn ang="0">
                  <a:pos x="124" y="84"/>
                </a:cxn>
                <a:cxn ang="0">
                  <a:pos x="73" y="55"/>
                </a:cxn>
                <a:cxn ang="0">
                  <a:pos x="0" y="41"/>
                </a:cxn>
                <a:cxn ang="0">
                  <a:pos x="11" y="21"/>
                </a:cxn>
              </a:cxnLst>
              <a:rect l="0" t="0" r="r" b="b"/>
              <a:pathLst>
                <a:path w="170" h="84">
                  <a:moveTo>
                    <a:pt x="11" y="21"/>
                  </a:moveTo>
                  <a:lnTo>
                    <a:pt x="66" y="0"/>
                  </a:lnTo>
                  <a:lnTo>
                    <a:pt x="121" y="7"/>
                  </a:lnTo>
                  <a:lnTo>
                    <a:pt x="170" y="84"/>
                  </a:lnTo>
                  <a:lnTo>
                    <a:pt x="124" y="84"/>
                  </a:lnTo>
                  <a:lnTo>
                    <a:pt x="73" y="55"/>
                  </a:lnTo>
                  <a:lnTo>
                    <a:pt x="0" y="41"/>
                  </a:lnTo>
                  <a:lnTo>
                    <a:pt x="11" y="21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6" name="Freeform 59">
              <a:extLst>
                <a:ext uri="{FF2B5EF4-FFF2-40B4-BE49-F238E27FC236}">
                  <a16:creationId xmlns:a16="http://schemas.microsoft.com/office/drawing/2014/main" id="{D71EEE11-A409-4AA6-B293-36DFBF104B97}"/>
                </a:ext>
              </a:extLst>
            </p:cNvPr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5552350" y="3882209"/>
              <a:ext cx="52395" cy="75548"/>
            </a:xfrm>
            <a:custGeom>
              <a:avLst/>
              <a:gdLst/>
              <a:ahLst/>
              <a:cxnLst>
                <a:cxn ang="0">
                  <a:pos x="34" y="11"/>
                </a:cxn>
                <a:cxn ang="0">
                  <a:pos x="23" y="8"/>
                </a:cxn>
                <a:cxn ang="0">
                  <a:pos x="31" y="31"/>
                </a:cxn>
                <a:cxn ang="0">
                  <a:pos x="0" y="211"/>
                </a:cxn>
                <a:cxn ang="0">
                  <a:pos x="14" y="286"/>
                </a:cxn>
                <a:cxn ang="0">
                  <a:pos x="96" y="310"/>
                </a:cxn>
                <a:cxn ang="0">
                  <a:pos x="144" y="266"/>
                </a:cxn>
                <a:cxn ang="0">
                  <a:pos x="206" y="162"/>
                </a:cxn>
                <a:cxn ang="0">
                  <a:pos x="192" y="152"/>
                </a:cxn>
                <a:cxn ang="0">
                  <a:pos x="182" y="121"/>
                </a:cxn>
                <a:cxn ang="0">
                  <a:pos x="154" y="118"/>
                </a:cxn>
                <a:cxn ang="0">
                  <a:pos x="151" y="156"/>
                </a:cxn>
                <a:cxn ang="0">
                  <a:pos x="137" y="135"/>
                </a:cxn>
                <a:cxn ang="0">
                  <a:pos x="93" y="179"/>
                </a:cxn>
                <a:cxn ang="0">
                  <a:pos x="103" y="135"/>
                </a:cxn>
                <a:cxn ang="0">
                  <a:pos x="86" y="132"/>
                </a:cxn>
                <a:cxn ang="0">
                  <a:pos x="75" y="25"/>
                </a:cxn>
                <a:cxn ang="0">
                  <a:pos x="51" y="0"/>
                </a:cxn>
                <a:cxn ang="0">
                  <a:pos x="34" y="11"/>
                </a:cxn>
              </a:cxnLst>
              <a:rect l="0" t="0" r="r" b="b"/>
              <a:pathLst>
                <a:path w="206" h="310">
                  <a:moveTo>
                    <a:pt x="34" y="11"/>
                  </a:moveTo>
                  <a:lnTo>
                    <a:pt x="23" y="8"/>
                  </a:lnTo>
                  <a:lnTo>
                    <a:pt x="31" y="31"/>
                  </a:lnTo>
                  <a:lnTo>
                    <a:pt x="0" y="211"/>
                  </a:lnTo>
                  <a:lnTo>
                    <a:pt x="14" y="286"/>
                  </a:lnTo>
                  <a:lnTo>
                    <a:pt x="96" y="310"/>
                  </a:lnTo>
                  <a:lnTo>
                    <a:pt x="144" y="266"/>
                  </a:lnTo>
                  <a:lnTo>
                    <a:pt x="206" y="162"/>
                  </a:lnTo>
                  <a:lnTo>
                    <a:pt x="192" y="152"/>
                  </a:lnTo>
                  <a:lnTo>
                    <a:pt x="182" y="121"/>
                  </a:lnTo>
                  <a:lnTo>
                    <a:pt x="154" y="118"/>
                  </a:lnTo>
                  <a:lnTo>
                    <a:pt x="151" y="156"/>
                  </a:lnTo>
                  <a:lnTo>
                    <a:pt x="137" y="135"/>
                  </a:lnTo>
                  <a:lnTo>
                    <a:pt x="93" y="179"/>
                  </a:lnTo>
                  <a:lnTo>
                    <a:pt x="103" y="135"/>
                  </a:lnTo>
                  <a:lnTo>
                    <a:pt x="86" y="132"/>
                  </a:lnTo>
                  <a:lnTo>
                    <a:pt x="75" y="25"/>
                  </a:lnTo>
                  <a:lnTo>
                    <a:pt x="51" y="0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7" name="Freeform 60">
              <a:extLst>
                <a:ext uri="{FF2B5EF4-FFF2-40B4-BE49-F238E27FC236}">
                  <a16:creationId xmlns:a16="http://schemas.microsoft.com/office/drawing/2014/main" id="{B7144A5B-388A-4E34-BD64-C6EC0F66D6FC}"/>
                </a:ext>
              </a:extLst>
            </p:cNvPr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5552350" y="3882209"/>
              <a:ext cx="52395" cy="75548"/>
            </a:xfrm>
            <a:custGeom>
              <a:avLst/>
              <a:gdLst/>
              <a:ahLst/>
              <a:cxnLst>
                <a:cxn ang="0">
                  <a:pos x="34" y="11"/>
                </a:cxn>
                <a:cxn ang="0">
                  <a:pos x="23" y="8"/>
                </a:cxn>
                <a:cxn ang="0">
                  <a:pos x="31" y="31"/>
                </a:cxn>
                <a:cxn ang="0">
                  <a:pos x="0" y="211"/>
                </a:cxn>
                <a:cxn ang="0">
                  <a:pos x="14" y="286"/>
                </a:cxn>
                <a:cxn ang="0">
                  <a:pos x="96" y="310"/>
                </a:cxn>
                <a:cxn ang="0">
                  <a:pos x="144" y="266"/>
                </a:cxn>
                <a:cxn ang="0">
                  <a:pos x="206" y="162"/>
                </a:cxn>
                <a:cxn ang="0">
                  <a:pos x="192" y="152"/>
                </a:cxn>
                <a:cxn ang="0">
                  <a:pos x="182" y="121"/>
                </a:cxn>
                <a:cxn ang="0">
                  <a:pos x="154" y="118"/>
                </a:cxn>
                <a:cxn ang="0">
                  <a:pos x="151" y="156"/>
                </a:cxn>
                <a:cxn ang="0">
                  <a:pos x="137" y="135"/>
                </a:cxn>
                <a:cxn ang="0">
                  <a:pos x="93" y="179"/>
                </a:cxn>
                <a:cxn ang="0">
                  <a:pos x="103" y="135"/>
                </a:cxn>
                <a:cxn ang="0">
                  <a:pos x="86" y="132"/>
                </a:cxn>
                <a:cxn ang="0">
                  <a:pos x="75" y="25"/>
                </a:cxn>
                <a:cxn ang="0">
                  <a:pos x="51" y="0"/>
                </a:cxn>
                <a:cxn ang="0">
                  <a:pos x="34" y="11"/>
                </a:cxn>
              </a:cxnLst>
              <a:rect l="0" t="0" r="r" b="b"/>
              <a:pathLst>
                <a:path w="206" h="310">
                  <a:moveTo>
                    <a:pt x="34" y="11"/>
                  </a:moveTo>
                  <a:lnTo>
                    <a:pt x="23" y="8"/>
                  </a:lnTo>
                  <a:lnTo>
                    <a:pt x="31" y="31"/>
                  </a:lnTo>
                  <a:lnTo>
                    <a:pt x="0" y="211"/>
                  </a:lnTo>
                  <a:lnTo>
                    <a:pt x="14" y="286"/>
                  </a:lnTo>
                  <a:lnTo>
                    <a:pt x="96" y="310"/>
                  </a:lnTo>
                  <a:lnTo>
                    <a:pt x="144" y="266"/>
                  </a:lnTo>
                  <a:lnTo>
                    <a:pt x="206" y="162"/>
                  </a:lnTo>
                  <a:lnTo>
                    <a:pt x="192" y="152"/>
                  </a:lnTo>
                  <a:lnTo>
                    <a:pt x="182" y="121"/>
                  </a:lnTo>
                  <a:lnTo>
                    <a:pt x="154" y="118"/>
                  </a:lnTo>
                  <a:lnTo>
                    <a:pt x="151" y="156"/>
                  </a:lnTo>
                  <a:lnTo>
                    <a:pt x="137" y="135"/>
                  </a:lnTo>
                  <a:lnTo>
                    <a:pt x="93" y="179"/>
                  </a:lnTo>
                  <a:lnTo>
                    <a:pt x="103" y="135"/>
                  </a:lnTo>
                  <a:lnTo>
                    <a:pt x="86" y="132"/>
                  </a:lnTo>
                  <a:lnTo>
                    <a:pt x="75" y="25"/>
                  </a:lnTo>
                  <a:lnTo>
                    <a:pt x="51" y="0"/>
                  </a:lnTo>
                  <a:lnTo>
                    <a:pt x="34" y="11"/>
                  </a:lnTo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8" name="Freeform 61">
              <a:extLst>
                <a:ext uri="{FF2B5EF4-FFF2-40B4-BE49-F238E27FC236}">
                  <a16:creationId xmlns:a16="http://schemas.microsoft.com/office/drawing/2014/main" id="{F8430E59-0F45-4707-BDEA-6A5991E85213}"/>
                </a:ext>
              </a:extLst>
            </p:cNvPr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3407771" y="3578799"/>
              <a:ext cx="90169" cy="186433"/>
            </a:xfrm>
            <a:custGeom>
              <a:avLst/>
              <a:gdLst/>
              <a:ahLst/>
              <a:cxnLst>
                <a:cxn ang="0">
                  <a:pos x="61" y="127"/>
                </a:cxn>
                <a:cxn ang="0">
                  <a:pos x="82" y="85"/>
                </a:cxn>
                <a:cxn ang="0">
                  <a:pos x="44" y="58"/>
                </a:cxn>
                <a:cxn ang="0">
                  <a:pos x="41" y="37"/>
                </a:cxn>
                <a:cxn ang="0">
                  <a:pos x="14" y="58"/>
                </a:cxn>
                <a:cxn ang="0">
                  <a:pos x="0" y="20"/>
                </a:cxn>
                <a:cxn ang="0">
                  <a:pos x="17" y="0"/>
                </a:cxn>
                <a:cxn ang="0">
                  <a:pos x="52" y="6"/>
                </a:cxn>
                <a:cxn ang="0">
                  <a:pos x="157" y="157"/>
                </a:cxn>
                <a:cxn ang="0">
                  <a:pos x="261" y="261"/>
                </a:cxn>
                <a:cxn ang="0">
                  <a:pos x="258" y="313"/>
                </a:cxn>
                <a:cxn ang="0">
                  <a:pos x="285" y="420"/>
                </a:cxn>
                <a:cxn ang="0">
                  <a:pos x="275" y="464"/>
                </a:cxn>
                <a:cxn ang="0">
                  <a:pos x="340" y="561"/>
                </a:cxn>
                <a:cxn ang="0">
                  <a:pos x="354" y="609"/>
                </a:cxn>
                <a:cxn ang="0">
                  <a:pos x="344" y="709"/>
                </a:cxn>
                <a:cxn ang="0">
                  <a:pos x="344" y="722"/>
                </a:cxn>
                <a:cxn ang="0">
                  <a:pos x="357" y="712"/>
                </a:cxn>
                <a:cxn ang="0">
                  <a:pos x="354" y="750"/>
                </a:cxn>
                <a:cxn ang="0">
                  <a:pos x="320" y="767"/>
                </a:cxn>
                <a:cxn ang="0">
                  <a:pos x="302" y="757"/>
                </a:cxn>
                <a:cxn ang="0">
                  <a:pos x="247" y="678"/>
                </a:cxn>
                <a:cxn ang="0">
                  <a:pos x="200" y="637"/>
                </a:cxn>
                <a:cxn ang="0">
                  <a:pos x="230" y="605"/>
                </a:cxn>
                <a:cxn ang="0">
                  <a:pos x="196" y="612"/>
                </a:cxn>
                <a:cxn ang="0">
                  <a:pos x="186" y="574"/>
                </a:cxn>
                <a:cxn ang="0">
                  <a:pos x="189" y="564"/>
                </a:cxn>
                <a:cxn ang="0">
                  <a:pos x="220" y="557"/>
                </a:cxn>
                <a:cxn ang="0">
                  <a:pos x="200" y="536"/>
                </a:cxn>
                <a:cxn ang="0">
                  <a:pos x="182" y="544"/>
                </a:cxn>
                <a:cxn ang="0">
                  <a:pos x="141" y="522"/>
                </a:cxn>
                <a:cxn ang="0">
                  <a:pos x="130" y="492"/>
                </a:cxn>
                <a:cxn ang="0">
                  <a:pos x="157" y="505"/>
                </a:cxn>
                <a:cxn ang="0">
                  <a:pos x="151" y="450"/>
                </a:cxn>
                <a:cxn ang="0">
                  <a:pos x="82" y="378"/>
                </a:cxn>
                <a:cxn ang="0">
                  <a:pos x="85" y="347"/>
                </a:cxn>
                <a:cxn ang="0">
                  <a:pos x="154" y="365"/>
                </a:cxn>
                <a:cxn ang="0">
                  <a:pos x="116" y="337"/>
                </a:cxn>
                <a:cxn ang="0">
                  <a:pos x="120" y="313"/>
                </a:cxn>
                <a:cxn ang="0">
                  <a:pos x="102" y="316"/>
                </a:cxn>
                <a:cxn ang="0">
                  <a:pos x="102" y="289"/>
                </a:cxn>
                <a:cxn ang="0">
                  <a:pos x="82" y="250"/>
                </a:cxn>
                <a:cxn ang="0">
                  <a:pos x="61" y="258"/>
                </a:cxn>
                <a:cxn ang="0">
                  <a:pos x="55" y="234"/>
                </a:cxn>
                <a:cxn ang="0">
                  <a:pos x="79" y="209"/>
                </a:cxn>
                <a:cxn ang="0">
                  <a:pos x="65" y="185"/>
                </a:cxn>
                <a:cxn ang="0">
                  <a:pos x="47" y="203"/>
                </a:cxn>
                <a:cxn ang="0">
                  <a:pos x="44" y="171"/>
                </a:cxn>
                <a:cxn ang="0">
                  <a:pos x="0" y="157"/>
                </a:cxn>
                <a:cxn ang="0">
                  <a:pos x="20" y="123"/>
                </a:cxn>
                <a:cxn ang="0">
                  <a:pos x="20" y="92"/>
                </a:cxn>
                <a:cxn ang="0">
                  <a:pos x="58" y="110"/>
                </a:cxn>
                <a:cxn ang="0">
                  <a:pos x="61" y="127"/>
                </a:cxn>
              </a:cxnLst>
              <a:rect l="0" t="0" r="r" b="b"/>
              <a:pathLst>
                <a:path w="357" h="767">
                  <a:moveTo>
                    <a:pt x="61" y="127"/>
                  </a:moveTo>
                  <a:lnTo>
                    <a:pt x="82" y="85"/>
                  </a:lnTo>
                  <a:lnTo>
                    <a:pt x="44" y="58"/>
                  </a:lnTo>
                  <a:lnTo>
                    <a:pt x="41" y="37"/>
                  </a:lnTo>
                  <a:lnTo>
                    <a:pt x="14" y="58"/>
                  </a:lnTo>
                  <a:lnTo>
                    <a:pt x="0" y="20"/>
                  </a:lnTo>
                  <a:lnTo>
                    <a:pt x="17" y="0"/>
                  </a:lnTo>
                  <a:lnTo>
                    <a:pt x="52" y="6"/>
                  </a:lnTo>
                  <a:lnTo>
                    <a:pt x="157" y="157"/>
                  </a:lnTo>
                  <a:lnTo>
                    <a:pt x="261" y="261"/>
                  </a:lnTo>
                  <a:lnTo>
                    <a:pt x="258" y="313"/>
                  </a:lnTo>
                  <a:lnTo>
                    <a:pt x="285" y="420"/>
                  </a:lnTo>
                  <a:lnTo>
                    <a:pt x="275" y="464"/>
                  </a:lnTo>
                  <a:lnTo>
                    <a:pt x="340" y="561"/>
                  </a:lnTo>
                  <a:lnTo>
                    <a:pt x="354" y="609"/>
                  </a:lnTo>
                  <a:lnTo>
                    <a:pt x="344" y="709"/>
                  </a:lnTo>
                  <a:lnTo>
                    <a:pt x="344" y="722"/>
                  </a:lnTo>
                  <a:lnTo>
                    <a:pt x="357" y="712"/>
                  </a:lnTo>
                  <a:lnTo>
                    <a:pt x="354" y="750"/>
                  </a:lnTo>
                  <a:lnTo>
                    <a:pt x="320" y="767"/>
                  </a:lnTo>
                  <a:lnTo>
                    <a:pt x="302" y="757"/>
                  </a:lnTo>
                  <a:lnTo>
                    <a:pt x="247" y="678"/>
                  </a:lnTo>
                  <a:lnTo>
                    <a:pt x="200" y="637"/>
                  </a:lnTo>
                  <a:lnTo>
                    <a:pt x="230" y="605"/>
                  </a:lnTo>
                  <a:lnTo>
                    <a:pt x="196" y="612"/>
                  </a:lnTo>
                  <a:lnTo>
                    <a:pt x="186" y="574"/>
                  </a:lnTo>
                  <a:lnTo>
                    <a:pt x="189" y="564"/>
                  </a:lnTo>
                  <a:lnTo>
                    <a:pt x="220" y="557"/>
                  </a:lnTo>
                  <a:lnTo>
                    <a:pt x="200" y="536"/>
                  </a:lnTo>
                  <a:lnTo>
                    <a:pt x="182" y="544"/>
                  </a:lnTo>
                  <a:lnTo>
                    <a:pt x="141" y="522"/>
                  </a:lnTo>
                  <a:lnTo>
                    <a:pt x="130" y="492"/>
                  </a:lnTo>
                  <a:lnTo>
                    <a:pt x="157" y="505"/>
                  </a:lnTo>
                  <a:lnTo>
                    <a:pt x="151" y="450"/>
                  </a:lnTo>
                  <a:lnTo>
                    <a:pt x="82" y="378"/>
                  </a:lnTo>
                  <a:lnTo>
                    <a:pt x="85" y="347"/>
                  </a:lnTo>
                  <a:lnTo>
                    <a:pt x="154" y="365"/>
                  </a:lnTo>
                  <a:lnTo>
                    <a:pt x="116" y="337"/>
                  </a:lnTo>
                  <a:lnTo>
                    <a:pt x="120" y="313"/>
                  </a:lnTo>
                  <a:lnTo>
                    <a:pt x="102" y="316"/>
                  </a:lnTo>
                  <a:lnTo>
                    <a:pt x="102" y="289"/>
                  </a:lnTo>
                  <a:lnTo>
                    <a:pt x="82" y="250"/>
                  </a:lnTo>
                  <a:lnTo>
                    <a:pt x="61" y="258"/>
                  </a:lnTo>
                  <a:lnTo>
                    <a:pt x="55" y="234"/>
                  </a:lnTo>
                  <a:lnTo>
                    <a:pt x="79" y="209"/>
                  </a:lnTo>
                  <a:lnTo>
                    <a:pt x="65" y="185"/>
                  </a:lnTo>
                  <a:lnTo>
                    <a:pt x="47" y="203"/>
                  </a:lnTo>
                  <a:lnTo>
                    <a:pt x="44" y="171"/>
                  </a:lnTo>
                  <a:lnTo>
                    <a:pt x="0" y="157"/>
                  </a:lnTo>
                  <a:lnTo>
                    <a:pt x="20" y="123"/>
                  </a:lnTo>
                  <a:lnTo>
                    <a:pt x="20" y="92"/>
                  </a:lnTo>
                  <a:lnTo>
                    <a:pt x="58" y="110"/>
                  </a:lnTo>
                  <a:lnTo>
                    <a:pt x="61" y="127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9" name="Freeform 63">
              <a:extLst>
                <a:ext uri="{FF2B5EF4-FFF2-40B4-BE49-F238E27FC236}">
                  <a16:creationId xmlns:a16="http://schemas.microsoft.com/office/drawing/2014/main" id="{5E1F3079-A760-42DD-9251-C9935D19C53F}"/>
                </a:ext>
              </a:extLst>
            </p:cNvPr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3365122" y="3408208"/>
              <a:ext cx="23152" cy="59707"/>
            </a:xfrm>
            <a:custGeom>
              <a:avLst/>
              <a:gdLst/>
              <a:ahLst/>
              <a:cxnLst>
                <a:cxn ang="0">
                  <a:pos x="0" y="83"/>
                </a:cxn>
                <a:cxn ang="0">
                  <a:pos x="23" y="42"/>
                </a:cxn>
                <a:cxn ang="0">
                  <a:pos x="6" y="48"/>
                </a:cxn>
                <a:cxn ang="0">
                  <a:pos x="3" y="34"/>
                </a:cxn>
                <a:cxn ang="0">
                  <a:pos x="27" y="20"/>
                </a:cxn>
                <a:cxn ang="0">
                  <a:pos x="12" y="0"/>
                </a:cxn>
                <a:cxn ang="0">
                  <a:pos x="89" y="11"/>
                </a:cxn>
                <a:cxn ang="0">
                  <a:pos x="82" y="48"/>
                </a:cxn>
                <a:cxn ang="0">
                  <a:pos x="58" y="38"/>
                </a:cxn>
                <a:cxn ang="0">
                  <a:pos x="75" y="62"/>
                </a:cxn>
                <a:cxn ang="0">
                  <a:pos x="68" y="80"/>
                </a:cxn>
                <a:cxn ang="0">
                  <a:pos x="41" y="72"/>
                </a:cxn>
                <a:cxn ang="0">
                  <a:pos x="12" y="103"/>
                </a:cxn>
                <a:cxn ang="0">
                  <a:pos x="9" y="127"/>
                </a:cxn>
                <a:cxn ang="0">
                  <a:pos x="34" y="176"/>
                </a:cxn>
                <a:cxn ang="0">
                  <a:pos x="20" y="248"/>
                </a:cxn>
                <a:cxn ang="0">
                  <a:pos x="0" y="169"/>
                </a:cxn>
                <a:cxn ang="0">
                  <a:pos x="9" y="152"/>
                </a:cxn>
                <a:cxn ang="0">
                  <a:pos x="0" y="83"/>
                </a:cxn>
              </a:cxnLst>
              <a:rect l="0" t="0" r="r" b="b"/>
              <a:pathLst>
                <a:path w="89" h="248">
                  <a:moveTo>
                    <a:pt x="0" y="83"/>
                  </a:moveTo>
                  <a:lnTo>
                    <a:pt x="23" y="42"/>
                  </a:lnTo>
                  <a:lnTo>
                    <a:pt x="6" y="48"/>
                  </a:lnTo>
                  <a:lnTo>
                    <a:pt x="3" y="34"/>
                  </a:lnTo>
                  <a:lnTo>
                    <a:pt x="27" y="20"/>
                  </a:lnTo>
                  <a:lnTo>
                    <a:pt x="12" y="0"/>
                  </a:lnTo>
                  <a:lnTo>
                    <a:pt x="89" y="11"/>
                  </a:lnTo>
                  <a:lnTo>
                    <a:pt x="82" y="48"/>
                  </a:lnTo>
                  <a:lnTo>
                    <a:pt x="58" y="38"/>
                  </a:lnTo>
                  <a:lnTo>
                    <a:pt x="75" y="62"/>
                  </a:lnTo>
                  <a:lnTo>
                    <a:pt x="68" y="80"/>
                  </a:lnTo>
                  <a:lnTo>
                    <a:pt x="41" y="72"/>
                  </a:lnTo>
                  <a:lnTo>
                    <a:pt x="12" y="103"/>
                  </a:lnTo>
                  <a:lnTo>
                    <a:pt x="9" y="127"/>
                  </a:lnTo>
                  <a:lnTo>
                    <a:pt x="34" y="176"/>
                  </a:lnTo>
                  <a:lnTo>
                    <a:pt x="20" y="248"/>
                  </a:lnTo>
                  <a:lnTo>
                    <a:pt x="0" y="169"/>
                  </a:lnTo>
                  <a:lnTo>
                    <a:pt x="9" y="152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0" name="Freeform 65">
              <a:extLst>
                <a:ext uri="{FF2B5EF4-FFF2-40B4-BE49-F238E27FC236}">
                  <a16:creationId xmlns:a16="http://schemas.microsoft.com/office/drawing/2014/main" id="{EF9E4780-C8B0-4115-8D4E-BB405EDC467B}"/>
                </a:ext>
              </a:extLst>
            </p:cNvPr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3369996" y="3349719"/>
              <a:ext cx="43866" cy="58489"/>
            </a:xfrm>
            <a:custGeom>
              <a:avLst/>
              <a:gdLst/>
              <a:ahLst/>
              <a:cxnLst>
                <a:cxn ang="0">
                  <a:pos x="134" y="96"/>
                </a:cxn>
                <a:cxn ang="0">
                  <a:pos x="169" y="96"/>
                </a:cxn>
                <a:cxn ang="0">
                  <a:pos x="159" y="131"/>
                </a:cxn>
                <a:cxn ang="0">
                  <a:pos x="110" y="169"/>
                </a:cxn>
                <a:cxn ang="0">
                  <a:pos x="69" y="224"/>
                </a:cxn>
                <a:cxn ang="0">
                  <a:pos x="38" y="241"/>
                </a:cxn>
                <a:cxn ang="0">
                  <a:pos x="27" y="211"/>
                </a:cxn>
                <a:cxn ang="0">
                  <a:pos x="0" y="228"/>
                </a:cxn>
                <a:cxn ang="0">
                  <a:pos x="11" y="176"/>
                </a:cxn>
                <a:cxn ang="0">
                  <a:pos x="27" y="183"/>
                </a:cxn>
                <a:cxn ang="0">
                  <a:pos x="35" y="165"/>
                </a:cxn>
                <a:cxn ang="0">
                  <a:pos x="11" y="114"/>
                </a:cxn>
                <a:cxn ang="0">
                  <a:pos x="32" y="45"/>
                </a:cxn>
                <a:cxn ang="0">
                  <a:pos x="24" y="35"/>
                </a:cxn>
                <a:cxn ang="0">
                  <a:pos x="52" y="0"/>
                </a:cxn>
                <a:cxn ang="0">
                  <a:pos x="93" y="38"/>
                </a:cxn>
                <a:cxn ang="0">
                  <a:pos x="69" y="66"/>
                </a:cxn>
                <a:cxn ang="0">
                  <a:pos x="117" y="63"/>
                </a:cxn>
                <a:cxn ang="0">
                  <a:pos x="93" y="121"/>
                </a:cxn>
                <a:cxn ang="0">
                  <a:pos x="38" y="118"/>
                </a:cxn>
                <a:cxn ang="0">
                  <a:pos x="55" y="148"/>
                </a:cxn>
                <a:cxn ang="0">
                  <a:pos x="93" y="135"/>
                </a:cxn>
                <a:cxn ang="0">
                  <a:pos x="134" y="96"/>
                </a:cxn>
              </a:cxnLst>
              <a:rect l="0" t="0" r="r" b="b"/>
              <a:pathLst>
                <a:path w="169" h="241">
                  <a:moveTo>
                    <a:pt x="134" y="96"/>
                  </a:moveTo>
                  <a:lnTo>
                    <a:pt x="169" y="96"/>
                  </a:lnTo>
                  <a:lnTo>
                    <a:pt x="159" y="131"/>
                  </a:lnTo>
                  <a:lnTo>
                    <a:pt x="110" y="169"/>
                  </a:lnTo>
                  <a:lnTo>
                    <a:pt x="69" y="224"/>
                  </a:lnTo>
                  <a:lnTo>
                    <a:pt x="38" y="241"/>
                  </a:lnTo>
                  <a:lnTo>
                    <a:pt x="27" y="211"/>
                  </a:lnTo>
                  <a:lnTo>
                    <a:pt x="0" y="228"/>
                  </a:lnTo>
                  <a:lnTo>
                    <a:pt x="11" y="176"/>
                  </a:lnTo>
                  <a:lnTo>
                    <a:pt x="27" y="183"/>
                  </a:lnTo>
                  <a:lnTo>
                    <a:pt x="35" y="165"/>
                  </a:lnTo>
                  <a:lnTo>
                    <a:pt x="11" y="114"/>
                  </a:lnTo>
                  <a:lnTo>
                    <a:pt x="32" y="45"/>
                  </a:lnTo>
                  <a:lnTo>
                    <a:pt x="24" y="35"/>
                  </a:lnTo>
                  <a:lnTo>
                    <a:pt x="52" y="0"/>
                  </a:lnTo>
                  <a:lnTo>
                    <a:pt x="93" y="38"/>
                  </a:lnTo>
                  <a:lnTo>
                    <a:pt x="69" y="66"/>
                  </a:lnTo>
                  <a:lnTo>
                    <a:pt x="117" y="63"/>
                  </a:lnTo>
                  <a:lnTo>
                    <a:pt x="93" y="121"/>
                  </a:lnTo>
                  <a:lnTo>
                    <a:pt x="38" y="118"/>
                  </a:lnTo>
                  <a:lnTo>
                    <a:pt x="55" y="148"/>
                  </a:lnTo>
                  <a:lnTo>
                    <a:pt x="93" y="135"/>
                  </a:lnTo>
                  <a:lnTo>
                    <a:pt x="134" y="96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1" name="Freeform 67">
              <a:extLst>
                <a:ext uri="{FF2B5EF4-FFF2-40B4-BE49-F238E27FC236}">
                  <a16:creationId xmlns:a16="http://schemas.microsoft.com/office/drawing/2014/main" id="{1C65C6AC-0F8C-476A-AB18-C63B2A06B94F}"/>
                </a:ext>
              </a:extLst>
            </p:cNvPr>
            <p:cNvSpPr>
              <a:spLocks/>
            </p:cNvSpPr>
            <p:nvPr>
              <p:custDataLst>
                <p:tags r:id="rId40"/>
              </p:custDataLst>
            </p:nvPr>
          </p:nvSpPr>
          <p:spPr bwMode="auto">
            <a:xfrm>
              <a:off x="5386632" y="3787165"/>
              <a:ext cx="97481" cy="23152"/>
            </a:xfrm>
            <a:custGeom>
              <a:avLst/>
              <a:gdLst/>
              <a:ahLst/>
              <a:cxnLst>
                <a:cxn ang="0">
                  <a:pos x="55" y="3"/>
                </a:cxn>
                <a:cxn ang="0">
                  <a:pos x="244" y="0"/>
                </a:cxn>
                <a:cxn ang="0">
                  <a:pos x="301" y="21"/>
                </a:cxn>
                <a:cxn ang="0">
                  <a:pos x="345" y="10"/>
                </a:cxn>
                <a:cxn ang="0">
                  <a:pos x="383" y="48"/>
                </a:cxn>
                <a:cxn ang="0">
                  <a:pos x="321" y="86"/>
                </a:cxn>
                <a:cxn ang="0">
                  <a:pos x="166" y="93"/>
                </a:cxn>
                <a:cxn ang="0">
                  <a:pos x="125" y="58"/>
                </a:cxn>
                <a:cxn ang="0">
                  <a:pos x="7" y="38"/>
                </a:cxn>
                <a:cxn ang="0">
                  <a:pos x="0" y="27"/>
                </a:cxn>
                <a:cxn ang="0">
                  <a:pos x="55" y="3"/>
                </a:cxn>
              </a:cxnLst>
              <a:rect l="0" t="0" r="r" b="b"/>
              <a:pathLst>
                <a:path w="383" h="93">
                  <a:moveTo>
                    <a:pt x="55" y="3"/>
                  </a:moveTo>
                  <a:lnTo>
                    <a:pt x="244" y="0"/>
                  </a:lnTo>
                  <a:lnTo>
                    <a:pt x="301" y="21"/>
                  </a:lnTo>
                  <a:lnTo>
                    <a:pt x="345" y="10"/>
                  </a:lnTo>
                  <a:lnTo>
                    <a:pt x="383" y="48"/>
                  </a:lnTo>
                  <a:lnTo>
                    <a:pt x="321" y="86"/>
                  </a:lnTo>
                  <a:lnTo>
                    <a:pt x="166" y="93"/>
                  </a:lnTo>
                  <a:lnTo>
                    <a:pt x="125" y="58"/>
                  </a:lnTo>
                  <a:lnTo>
                    <a:pt x="7" y="38"/>
                  </a:lnTo>
                  <a:lnTo>
                    <a:pt x="0" y="27"/>
                  </a:lnTo>
                  <a:lnTo>
                    <a:pt x="55" y="3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2" name="Freeform 68">
              <a:extLst>
                <a:ext uri="{FF2B5EF4-FFF2-40B4-BE49-F238E27FC236}">
                  <a16:creationId xmlns:a16="http://schemas.microsoft.com/office/drawing/2014/main" id="{DA00425C-082C-474E-AA6D-CB6592782010}"/>
                </a:ext>
              </a:extLst>
            </p:cNvPr>
            <p:cNvSpPr>
              <a:spLocks/>
            </p:cNvSpPr>
            <p:nvPr>
              <p:custDataLst>
                <p:tags r:id="rId41"/>
              </p:custDataLst>
            </p:nvPr>
          </p:nvSpPr>
          <p:spPr bwMode="auto">
            <a:xfrm>
              <a:off x="5386632" y="3787165"/>
              <a:ext cx="97481" cy="23152"/>
            </a:xfrm>
            <a:custGeom>
              <a:avLst/>
              <a:gdLst/>
              <a:ahLst/>
              <a:cxnLst>
                <a:cxn ang="0">
                  <a:pos x="55" y="3"/>
                </a:cxn>
                <a:cxn ang="0">
                  <a:pos x="244" y="0"/>
                </a:cxn>
                <a:cxn ang="0">
                  <a:pos x="301" y="21"/>
                </a:cxn>
                <a:cxn ang="0">
                  <a:pos x="345" y="10"/>
                </a:cxn>
                <a:cxn ang="0">
                  <a:pos x="383" y="48"/>
                </a:cxn>
                <a:cxn ang="0">
                  <a:pos x="321" y="86"/>
                </a:cxn>
                <a:cxn ang="0">
                  <a:pos x="166" y="93"/>
                </a:cxn>
                <a:cxn ang="0">
                  <a:pos x="125" y="58"/>
                </a:cxn>
                <a:cxn ang="0">
                  <a:pos x="7" y="38"/>
                </a:cxn>
                <a:cxn ang="0">
                  <a:pos x="0" y="27"/>
                </a:cxn>
                <a:cxn ang="0">
                  <a:pos x="55" y="3"/>
                </a:cxn>
              </a:cxnLst>
              <a:rect l="0" t="0" r="r" b="b"/>
              <a:pathLst>
                <a:path w="383" h="93">
                  <a:moveTo>
                    <a:pt x="55" y="3"/>
                  </a:moveTo>
                  <a:lnTo>
                    <a:pt x="244" y="0"/>
                  </a:lnTo>
                  <a:lnTo>
                    <a:pt x="301" y="21"/>
                  </a:lnTo>
                  <a:lnTo>
                    <a:pt x="345" y="10"/>
                  </a:lnTo>
                  <a:lnTo>
                    <a:pt x="383" y="48"/>
                  </a:lnTo>
                  <a:lnTo>
                    <a:pt x="321" y="86"/>
                  </a:lnTo>
                  <a:lnTo>
                    <a:pt x="166" y="93"/>
                  </a:lnTo>
                  <a:lnTo>
                    <a:pt x="125" y="58"/>
                  </a:lnTo>
                  <a:lnTo>
                    <a:pt x="7" y="38"/>
                  </a:lnTo>
                  <a:lnTo>
                    <a:pt x="0" y="27"/>
                  </a:lnTo>
                  <a:lnTo>
                    <a:pt x="55" y="3"/>
                  </a:lnTo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3" name="Freeform 69">
              <a:extLst>
                <a:ext uri="{FF2B5EF4-FFF2-40B4-BE49-F238E27FC236}">
                  <a16:creationId xmlns:a16="http://schemas.microsoft.com/office/drawing/2014/main" id="{D1B21E1C-3618-494E-9D51-BAE2BCC1AF2B}"/>
                </a:ext>
              </a:extLst>
            </p:cNvPr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5574283" y="3601951"/>
              <a:ext cx="226643" cy="237609"/>
            </a:xfrm>
            <a:custGeom>
              <a:avLst/>
              <a:gdLst/>
              <a:ahLst/>
              <a:cxnLst>
                <a:cxn ang="0">
                  <a:pos x="44" y="116"/>
                </a:cxn>
                <a:cxn ang="0">
                  <a:pos x="38" y="196"/>
                </a:cxn>
                <a:cxn ang="0">
                  <a:pos x="24" y="282"/>
                </a:cxn>
                <a:cxn ang="0">
                  <a:pos x="41" y="310"/>
                </a:cxn>
                <a:cxn ang="0">
                  <a:pos x="79" y="379"/>
                </a:cxn>
                <a:cxn ang="0">
                  <a:pos x="51" y="492"/>
                </a:cxn>
                <a:cxn ang="0">
                  <a:pos x="55" y="536"/>
                </a:cxn>
                <a:cxn ang="0">
                  <a:pos x="48" y="596"/>
                </a:cxn>
                <a:cxn ang="0">
                  <a:pos x="89" y="630"/>
                </a:cxn>
                <a:cxn ang="0">
                  <a:pos x="55" y="741"/>
                </a:cxn>
                <a:cxn ang="0">
                  <a:pos x="27" y="747"/>
                </a:cxn>
                <a:cxn ang="0">
                  <a:pos x="76" y="761"/>
                </a:cxn>
                <a:cxn ang="0">
                  <a:pos x="34" y="926"/>
                </a:cxn>
                <a:cxn ang="0">
                  <a:pos x="65" y="978"/>
                </a:cxn>
                <a:cxn ang="0">
                  <a:pos x="200" y="895"/>
                </a:cxn>
                <a:cxn ang="0">
                  <a:pos x="433" y="785"/>
                </a:cxn>
                <a:cxn ang="0">
                  <a:pos x="479" y="768"/>
                </a:cxn>
                <a:cxn ang="0">
                  <a:pos x="530" y="775"/>
                </a:cxn>
                <a:cxn ang="0">
                  <a:pos x="598" y="712"/>
                </a:cxn>
                <a:cxn ang="0">
                  <a:pos x="565" y="840"/>
                </a:cxn>
                <a:cxn ang="0">
                  <a:pos x="530" y="906"/>
                </a:cxn>
                <a:cxn ang="0">
                  <a:pos x="603" y="857"/>
                </a:cxn>
                <a:cxn ang="0">
                  <a:pos x="658" y="720"/>
                </a:cxn>
                <a:cxn ang="0">
                  <a:pos x="658" y="599"/>
                </a:cxn>
                <a:cxn ang="0">
                  <a:pos x="747" y="802"/>
                </a:cxn>
                <a:cxn ang="0">
                  <a:pos x="778" y="709"/>
                </a:cxn>
                <a:cxn ang="0">
                  <a:pos x="823" y="791"/>
                </a:cxn>
                <a:cxn ang="0">
                  <a:pos x="858" y="775"/>
                </a:cxn>
                <a:cxn ang="0">
                  <a:pos x="858" y="599"/>
                </a:cxn>
                <a:cxn ang="0">
                  <a:pos x="816" y="547"/>
                </a:cxn>
                <a:cxn ang="0">
                  <a:pos x="798" y="613"/>
                </a:cxn>
                <a:cxn ang="0">
                  <a:pos x="765" y="472"/>
                </a:cxn>
                <a:cxn ang="0">
                  <a:pos x="743" y="613"/>
                </a:cxn>
                <a:cxn ang="0">
                  <a:pos x="702" y="606"/>
                </a:cxn>
                <a:cxn ang="0">
                  <a:pos x="650" y="533"/>
                </a:cxn>
                <a:cxn ang="0">
                  <a:pos x="702" y="409"/>
                </a:cxn>
                <a:cxn ang="0">
                  <a:pos x="655" y="458"/>
                </a:cxn>
                <a:cxn ang="0">
                  <a:pos x="606" y="489"/>
                </a:cxn>
                <a:cxn ang="0">
                  <a:pos x="582" y="423"/>
                </a:cxn>
                <a:cxn ang="0">
                  <a:pos x="592" y="320"/>
                </a:cxn>
                <a:cxn ang="0">
                  <a:pos x="523" y="310"/>
                </a:cxn>
                <a:cxn ang="0">
                  <a:pos x="461" y="327"/>
                </a:cxn>
                <a:cxn ang="0">
                  <a:pos x="378" y="361"/>
                </a:cxn>
                <a:cxn ang="0">
                  <a:pos x="299" y="420"/>
                </a:cxn>
                <a:cxn ang="0">
                  <a:pos x="265" y="393"/>
                </a:cxn>
                <a:cxn ang="0">
                  <a:pos x="230" y="341"/>
                </a:cxn>
                <a:cxn ang="0">
                  <a:pos x="210" y="320"/>
                </a:cxn>
                <a:cxn ang="0">
                  <a:pos x="169" y="423"/>
                </a:cxn>
                <a:cxn ang="0">
                  <a:pos x="165" y="234"/>
                </a:cxn>
                <a:cxn ang="0">
                  <a:pos x="154" y="185"/>
                </a:cxn>
                <a:cxn ang="0">
                  <a:pos x="158" y="99"/>
                </a:cxn>
                <a:cxn ang="0">
                  <a:pos x="127" y="75"/>
                </a:cxn>
                <a:cxn ang="0">
                  <a:pos x="151" y="17"/>
                </a:cxn>
                <a:cxn ang="0">
                  <a:pos x="79" y="66"/>
                </a:cxn>
              </a:cxnLst>
              <a:rect l="0" t="0" r="r" b="b"/>
              <a:pathLst>
                <a:path w="888" h="978">
                  <a:moveTo>
                    <a:pt x="79" y="66"/>
                  </a:moveTo>
                  <a:lnTo>
                    <a:pt x="44" y="116"/>
                  </a:lnTo>
                  <a:lnTo>
                    <a:pt x="51" y="165"/>
                  </a:lnTo>
                  <a:lnTo>
                    <a:pt x="38" y="196"/>
                  </a:lnTo>
                  <a:lnTo>
                    <a:pt x="48" y="234"/>
                  </a:lnTo>
                  <a:lnTo>
                    <a:pt x="24" y="282"/>
                  </a:lnTo>
                  <a:lnTo>
                    <a:pt x="48" y="289"/>
                  </a:lnTo>
                  <a:lnTo>
                    <a:pt x="41" y="310"/>
                  </a:lnTo>
                  <a:lnTo>
                    <a:pt x="51" y="368"/>
                  </a:lnTo>
                  <a:lnTo>
                    <a:pt x="79" y="379"/>
                  </a:lnTo>
                  <a:lnTo>
                    <a:pt x="48" y="409"/>
                  </a:lnTo>
                  <a:lnTo>
                    <a:pt x="51" y="492"/>
                  </a:lnTo>
                  <a:lnTo>
                    <a:pt x="72" y="530"/>
                  </a:lnTo>
                  <a:lnTo>
                    <a:pt x="55" y="536"/>
                  </a:lnTo>
                  <a:lnTo>
                    <a:pt x="48" y="571"/>
                  </a:lnTo>
                  <a:lnTo>
                    <a:pt x="48" y="596"/>
                  </a:lnTo>
                  <a:lnTo>
                    <a:pt x="76" y="599"/>
                  </a:lnTo>
                  <a:lnTo>
                    <a:pt x="89" y="630"/>
                  </a:lnTo>
                  <a:lnTo>
                    <a:pt x="48" y="643"/>
                  </a:lnTo>
                  <a:lnTo>
                    <a:pt x="55" y="741"/>
                  </a:lnTo>
                  <a:lnTo>
                    <a:pt x="41" y="758"/>
                  </a:lnTo>
                  <a:lnTo>
                    <a:pt x="27" y="747"/>
                  </a:lnTo>
                  <a:lnTo>
                    <a:pt x="0" y="788"/>
                  </a:lnTo>
                  <a:lnTo>
                    <a:pt x="76" y="761"/>
                  </a:lnTo>
                  <a:lnTo>
                    <a:pt x="93" y="775"/>
                  </a:lnTo>
                  <a:lnTo>
                    <a:pt x="34" y="926"/>
                  </a:lnTo>
                  <a:lnTo>
                    <a:pt x="44" y="961"/>
                  </a:lnTo>
                  <a:lnTo>
                    <a:pt x="65" y="978"/>
                  </a:lnTo>
                  <a:lnTo>
                    <a:pt x="96" y="971"/>
                  </a:lnTo>
                  <a:lnTo>
                    <a:pt x="200" y="895"/>
                  </a:lnTo>
                  <a:lnTo>
                    <a:pt x="368" y="837"/>
                  </a:lnTo>
                  <a:lnTo>
                    <a:pt x="433" y="785"/>
                  </a:lnTo>
                  <a:lnTo>
                    <a:pt x="464" y="723"/>
                  </a:lnTo>
                  <a:lnTo>
                    <a:pt x="479" y="768"/>
                  </a:lnTo>
                  <a:lnTo>
                    <a:pt x="455" y="813"/>
                  </a:lnTo>
                  <a:lnTo>
                    <a:pt x="530" y="775"/>
                  </a:lnTo>
                  <a:lnTo>
                    <a:pt x="534" y="727"/>
                  </a:lnTo>
                  <a:lnTo>
                    <a:pt x="598" y="712"/>
                  </a:lnTo>
                  <a:lnTo>
                    <a:pt x="571" y="782"/>
                  </a:lnTo>
                  <a:lnTo>
                    <a:pt x="565" y="840"/>
                  </a:lnTo>
                  <a:lnTo>
                    <a:pt x="523" y="881"/>
                  </a:lnTo>
                  <a:lnTo>
                    <a:pt x="530" y="906"/>
                  </a:lnTo>
                  <a:lnTo>
                    <a:pt x="557" y="903"/>
                  </a:lnTo>
                  <a:lnTo>
                    <a:pt x="603" y="857"/>
                  </a:lnTo>
                  <a:lnTo>
                    <a:pt x="620" y="754"/>
                  </a:lnTo>
                  <a:lnTo>
                    <a:pt x="658" y="720"/>
                  </a:lnTo>
                  <a:lnTo>
                    <a:pt x="641" y="609"/>
                  </a:lnTo>
                  <a:lnTo>
                    <a:pt x="658" y="599"/>
                  </a:lnTo>
                  <a:lnTo>
                    <a:pt x="726" y="695"/>
                  </a:lnTo>
                  <a:lnTo>
                    <a:pt x="747" y="802"/>
                  </a:lnTo>
                  <a:lnTo>
                    <a:pt x="768" y="799"/>
                  </a:lnTo>
                  <a:lnTo>
                    <a:pt x="778" y="709"/>
                  </a:lnTo>
                  <a:lnTo>
                    <a:pt x="795" y="716"/>
                  </a:lnTo>
                  <a:lnTo>
                    <a:pt x="823" y="791"/>
                  </a:lnTo>
                  <a:lnTo>
                    <a:pt x="847" y="809"/>
                  </a:lnTo>
                  <a:lnTo>
                    <a:pt x="858" y="775"/>
                  </a:lnTo>
                  <a:lnTo>
                    <a:pt x="888" y="764"/>
                  </a:lnTo>
                  <a:lnTo>
                    <a:pt x="858" y="599"/>
                  </a:lnTo>
                  <a:lnTo>
                    <a:pt x="833" y="547"/>
                  </a:lnTo>
                  <a:lnTo>
                    <a:pt x="816" y="547"/>
                  </a:lnTo>
                  <a:lnTo>
                    <a:pt x="816" y="620"/>
                  </a:lnTo>
                  <a:lnTo>
                    <a:pt x="798" y="613"/>
                  </a:lnTo>
                  <a:lnTo>
                    <a:pt x="782" y="579"/>
                  </a:lnTo>
                  <a:lnTo>
                    <a:pt x="765" y="472"/>
                  </a:lnTo>
                  <a:lnTo>
                    <a:pt x="740" y="527"/>
                  </a:lnTo>
                  <a:lnTo>
                    <a:pt x="743" y="613"/>
                  </a:lnTo>
                  <a:lnTo>
                    <a:pt x="733" y="623"/>
                  </a:lnTo>
                  <a:lnTo>
                    <a:pt x="702" y="606"/>
                  </a:lnTo>
                  <a:lnTo>
                    <a:pt x="692" y="554"/>
                  </a:lnTo>
                  <a:lnTo>
                    <a:pt x="650" y="533"/>
                  </a:lnTo>
                  <a:lnTo>
                    <a:pt x="705" y="440"/>
                  </a:lnTo>
                  <a:lnTo>
                    <a:pt x="702" y="409"/>
                  </a:lnTo>
                  <a:lnTo>
                    <a:pt x="692" y="396"/>
                  </a:lnTo>
                  <a:lnTo>
                    <a:pt x="655" y="458"/>
                  </a:lnTo>
                  <a:lnTo>
                    <a:pt x="616" y="495"/>
                  </a:lnTo>
                  <a:lnTo>
                    <a:pt x="606" y="489"/>
                  </a:lnTo>
                  <a:lnTo>
                    <a:pt x="612" y="426"/>
                  </a:lnTo>
                  <a:lnTo>
                    <a:pt x="582" y="423"/>
                  </a:lnTo>
                  <a:lnTo>
                    <a:pt x="589" y="344"/>
                  </a:lnTo>
                  <a:lnTo>
                    <a:pt x="592" y="320"/>
                  </a:lnTo>
                  <a:lnTo>
                    <a:pt x="598" y="306"/>
                  </a:lnTo>
                  <a:lnTo>
                    <a:pt x="523" y="310"/>
                  </a:lnTo>
                  <a:lnTo>
                    <a:pt x="488" y="338"/>
                  </a:lnTo>
                  <a:lnTo>
                    <a:pt x="461" y="327"/>
                  </a:lnTo>
                  <a:lnTo>
                    <a:pt x="382" y="431"/>
                  </a:lnTo>
                  <a:lnTo>
                    <a:pt x="378" y="361"/>
                  </a:lnTo>
                  <a:lnTo>
                    <a:pt x="365" y="399"/>
                  </a:lnTo>
                  <a:lnTo>
                    <a:pt x="299" y="420"/>
                  </a:lnTo>
                  <a:lnTo>
                    <a:pt x="288" y="388"/>
                  </a:lnTo>
                  <a:lnTo>
                    <a:pt x="265" y="393"/>
                  </a:lnTo>
                  <a:lnTo>
                    <a:pt x="306" y="316"/>
                  </a:lnTo>
                  <a:lnTo>
                    <a:pt x="230" y="341"/>
                  </a:lnTo>
                  <a:lnTo>
                    <a:pt x="224" y="313"/>
                  </a:lnTo>
                  <a:lnTo>
                    <a:pt x="210" y="320"/>
                  </a:lnTo>
                  <a:lnTo>
                    <a:pt x="189" y="444"/>
                  </a:lnTo>
                  <a:lnTo>
                    <a:pt x="169" y="423"/>
                  </a:lnTo>
                  <a:lnTo>
                    <a:pt x="151" y="365"/>
                  </a:lnTo>
                  <a:lnTo>
                    <a:pt x="165" y="234"/>
                  </a:lnTo>
                  <a:lnTo>
                    <a:pt x="137" y="171"/>
                  </a:lnTo>
                  <a:lnTo>
                    <a:pt x="154" y="185"/>
                  </a:lnTo>
                  <a:lnTo>
                    <a:pt x="169" y="158"/>
                  </a:lnTo>
                  <a:lnTo>
                    <a:pt x="158" y="99"/>
                  </a:lnTo>
                  <a:lnTo>
                    <a:pt x="134" y="93"/>
                  </a:lnTo>
                  <a:lnTo>
                    <a:pt x="127" y="75"/>
                  </a:lnTo>
                  <a:lnTo>
                    <a:pt x="151" y="58"/>
                  </a:lnTo>
                  <a:lnTo>
                    <a:pt x="151" y="17"/>
                  </a:lnTo>
                  <a:lnTo>
                    <a:pt x="140" y="0"/>
                  </a:lnTo>
                  <a:lnTo>
                    <a:pt x="79" y="66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4" name="Freeform 71">
              <a:extLst>
                <a:ext uri="{FF2B5EF4-FFF2-40B4-BE49-F238E27FC236}">
                  <a16:creationId xmlns:a16="http://schemas.microsoft.com/office/drawing/2014/main" id="{276E802C-7187-424B-B362-B1385CEFAE62}"/>
                </a:ext>
              </a:extLst>
            </p:cNvPr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5443902" y="3924856"/>
              <a:ext cx="81641" cy="32900"/>
            </a:xfrm>
            <a:custGeom>
              <a:avLst/>
              <a:gdLst/>
              <a:ahLst/>
              <a:cxnLst>
                <a:cxn ang="0">
                  <a:pos x="34" y="10"/>
                </a:cxn>
                <a:cxn ang="0">
                  <a:pos x="38" y="47"/>
                </a:cxn>
                <a:cxn ang="0">
                  <a:pos x="97" y="86"/>
                </a:cxn>
                <a:cxn ang="0">
                  <a:pos x="132" y="72"/>
                </a:cxn>
                <a:cxn ang="0">
                  <a:pos x="207" y="72"/>
                </a:cxn>
                <a:cxn ang="0">
                  <a:pos x="314" y="14"/>
                </a:cxn>
                <a:cxn ang="0">
                  <a:pos x="321" y="27"/>
                </a:cxn>
                <a:cxn ang="0">
                  <a:pos x="283" y="79"/>
                </a:cxn>
                <a:cxn ang="0">
                  <a:pos x="297" y="117"/>
                </a:cxn>
                <a:cxn ang="0">
                  <a:pos x="275" y="134"/>
                </a:cxn>
                <a:cxn ang="0">
                  <a:pos x="242" y="134"/>
                </a:cxn>
                <a:cxn ang="0">
                  <a:pos x="225" y="107"/>
                </a:cxn>
                <a:cxn ang="0">
                  <a:pos x="200" y="104"/>
                </a:cxn>
                <a:cxn ang="0">
                  <a:pos x="196" y="124"/>
                </a:cxn>
                <a:cxn ang="0">
                  <a:pos x="148" y="131"/>
                </a:cxn>
                <a:cxn ang="0">
                  <a:pos x="118" y="127"/>
                </a:cxn>
                <a:cxn ang="0">
                  <a:pos x="100" y="110"/>
                </a:cxn>
                <a:cxn ang="0">
                  <a:pos x="77" y="117"/>
                </a:cxn>
                <a:cxn ang="0">
                  <a:pos x="52" y="104"/>
                </a:cxn>
                <a:cxn ang="0">
                  <a:pos x="49" y="86"/>
                </a:cxn>
                <a:cxn ang="0">
                  <a:pos x="11" y="82"/>
                </a:cxn>
                <a:cxn ang="0">
                  <a:pos x="0" y="58"/>
                </a:cxn>
                <a:cxn ang="0">
                  <a:pos x="28" y="0"/>
                </a:cxn>
                <a:cxn ang="0">
                  <a:pos x="34" y="10"/>
                </a:cxn>
              </a:cxnLst>
              <a:rect l="0" t="0" r="r" b="b"/>
              <a:pathLst>
                <a:path w="321" h="134">
                  <a:moveTo>
                    <a:pt x="34" y="10"/>
                  </a:moveTo>
                  <a:lnTo>
                    <a:pt x="38" y="47"/>
                  </a:lnTo>
                  <a:lnTo>
                    <a:pt x="97" y="86"/>
                  </a:lnTo>
                  <a:lnTo>
                    <a:pt x="132" y="72"/>
                  </a:lnTo>
                  <a:lnTo>
                    <a:pt x="207" y="72"/>
                  </a:lnTo>
                  <a:lnTo>
                    <a:pt x="314" y="14"/>
                  </a:lnTo>
                  <a:lnTo>
                    <a:pt x="321" y="27"/>
                  </a:lnTo>
                  <a:lnTo>
                    <a:pt x="283" y="79"/>
                  </a:lnTo>
                  <a:lnTo>
                    <a:pt x="297" y="117"/>
                  </a:lnTo>
                  <a:lnTo>
                    <a:pt x="275" y="134"/>
                  </a:lnTo>
                  <a:lnTo>
                    <a:pt x="242" y="134"/>
                  </a:lnTo>
                  <a:lnTo>
                    <a:pt x="225" y="107"/>
                  </a:lnTo>
                  <a:lnTo>
                    <a:pt x="200" y="104"/>
                  </a:lnTo>
                  <a:lnTo>
                    <a:pt x="196" y="124"/>
                  </a:lnTo>
                  <a:lnTo>
                    <a:pt x="148" y="131"/>
                  </a:lnTo>
                  <a:lnTo>
                    <a:pt x="118" y="127"/>
                  </a:lnTo>
                  <a:lnTo>
                    <a:pt x="100" y="110"/>
                  </a:lnTo>
                  <a:lnTo>
                    <a:pt x="77" y="117"/>
                  </a:lnTo>
                  <a:lnTo>
                    <a:pt x="52" y="104"/>
                  </a:lnTo>
                  <a:lnTo>
                    <a:pt x="49" y="86"/>
                  </a:lnTo>
                  <a:lnTo>
                    <a:pt x="11" y="82"/>
                  </a:lnTo>
                  <a:lnTo>
                    <a:pt x="0" y="58"/>
                  </a:lnTo>
                  <a:lnTo>
                    <a:pt x="28" y="0"/>
                  </a:lnTo>
                  <a:lnTo>
                    <a:pt x="34" y="10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5" name="Freeform 72">
              <a:extLst>
                <a:ext uri="{FF2B5EF4-FFF2-40B4-BE49-F238E27FC236}">
                  <a16:creationId xmlns:a16="http://schemas.microsoft.com/office/drawing/2014/main" id="{4BF5FDD4-D82A-417F-BB63-BF703146D139}"/>
                </a:ext>
              </a:extLst>
            </p:cNvPr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5443902" y="3924856"/>
              <a:ext cx="81641" cy="32900"/>
            </a:xfrm>
            <a:custGeom>
              <a:avLst/>
              <a:gdLst/>
              <a:ahLst/>
              <a:cxnLst>
                <a:cxn ang="0">
                  <a:pos x="34" y="10"/>
                </a:cxn>
                <a:cxn ang="0">
                  <a:pos x="38" y="47"/>
                </a:cxn>
                <a:cxn ang="0">
                  <a:pos x="97" y="86"/>
                </a:cxn>
                <a:cxn ang="0">
                  <a:pos x="132" y="72"/>
                </a:cxn>
                <a:cxn ang="0">
                  <a:pos x="207" y="72"/>
                </a:cxn>
                <a:cxn ang="0">
                  <a:pos x="314" y="14"/>
                </a:cxn>
                <a:cxn ang="0">
                  <a:pos x="321" y="27"/>
                </a:cxn>
                <a:cxn ang="0">
                  <a:pos x="283" y="79"/>
                </a:cxn>
                <a:cxn ang="0">
                  <a:pos x="297" y="117"/>
                </a:cxn>
                <a:cxn ang="0">
                  <a:pos x="275" y="134"/>
                </a:cxn>
                <a:cxn ang="0">
                  <a:pos x="242" y="134"/>
                </a:cxn>
                <a:cxn ang="0">
                  <a:pos x="225" y="107"/>
                </a:cxn>
                <a:cxn ang="0">
                  <a:pos x="200" y="104"/>
                </a:cxn>
                <a:cxn ang="0">
                  <a:pos x="196" y="124"/>
                </a:cxn>
                <a:cxn ang="0">
                  <a:pos x="148" y="131"/>
                </a:cxn>
                <a:cxn ang="0">
                  <a:pos x="118" y="127"/>
                </a:cxn>
                <a:cxn ang="0">
                  <a:pos x="100" y="110"/>
                </a:cxn>
                <a:cxn ang="0">
                  <a:pos x="77" y="117"/>
                </a:cxn>
                <a:cxn ang="0">
                  <a:pos x="52" y="104"/>
                </a:cxn>
                <a:cxn ang="0">
                  <a:pos x="49" y="86"/>
                </a:cxn>
                <a:cxn ang="0">
                  <a:pos x="11" y="82"/>
                </a:cxn>
                <a:cxn ang="0">
                  <a:pos x="0" y="58"/>
                </a:cxn>
                <a:cxn ang="0">
                  <a:pos x="28" y="0"/>
                </a:cxn>
                <a:cxn ang="0">
                  <a:pos x="34" y="10"/>
                </a:cxn>
              </a:cxnLst>
              <a:rect l="0" t="0" r="r" b="b"/>
              <a:pathLst>
                <a:path w="321" h="134">
                  <a:moveTo>
                    <a:pt x="34" y="10"/>
                  </a:moveTo>
                  <a:lnTo>
                    <a:pt x="38" y="47"/>
                  </a:lnTo>
                  <a:lnTo>
                    <a:pt x="97" y="86"/>
                  </a:lnTo>
                  <a:lnTo>
                    <a:pt x="132" y="72"/>
                  </a:lnTo>
                  <a:lnTo>
                    <a:pt x="207" y="72"/>
                  </a:lnTo>
                  <a:lnTo>
                    <a:pt x="314" y="14"/>
                  </a:lnTo>
                  <a:lnTo>
                    <a:pt x="321" y="27"/>
                  </a:lnTo>
                  <a:lnTo>
                    <a:pt x="283" y="79"/>
                  </a:lnTo>
                  <a:lnTo>
                    <a:pt x="297" y="117"/>
                  </a:lnTo>
                  <a:lnTo>
                    <a:pt x="275" y="134"/>
                  </a:lnTo>
                  <a:lnTo>
                    <a:pt x="242" y="134"/>
                  </a:lnTo>
                  <a:lnTo>
                    <a:pt x="225" y="107"/>
                  </a:lnTo>
                  <a:lnTo>
                    <a:pt x="200" y="104"/>
                  </a:lnTo>
                  <a:lnTo>
                    <a:pt x="196" y="124"/>
                  </a:lnTo>
                  <a:lnTo>
                    <a:pt x="148" y="131"/>
                  </a:lnTo>
                  <a:lnTo>
                    <a:pt x="118" y="127"/>
                  </a:lnTo>
                  <a:lnTo>
                    <a:pt x="100" y="110"/>
                  </a:lnTo>
                  <a:lnTo>
                    <a:pt x="77" y="117"/>
                  </a:lnTo>
                  <a:lnTo>
                    <a:pt x="52" y="104"/>
                  </a:lnTo>
                  <a:lnTo>
                    <a:pt x="49" y="86"/>
                  </a:lnTo>
                  <a:lnTo>
                    <a:pt x="11" y="82"/>
                  </a:lnTo>
                  <a:lnTo>
                    <a:pt x="0" y="58"/>
                  </a:lnTo>
                  <a:lnTo>
                    <a:pt x="28" y="0"/>
                  </a:lnTo>
                  <a:lnTo>
                    <a:pt x="34" y="10"/>
                  </a:lnTo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6" name="Freeform 73">
              <a:extLst>
                <a:ext uri="{FF2B5EF4-FFF2-40B4-BE49-F238E27FC236}">
                  <a16:creationId xmlns:a16="http://schemas.microsoft.com/office/drawing/2014/main" id="{E20371B2-9AA0-4736-A94E-3E26B018871C}"/>
                </a:ext>
              </a:extLst>
            </p:cNvPr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5692478" y="3818846"/>
              <a:ext cx="8530" cy="1462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7" y="61"/>
                </a:cxn>
                <a:cxn ang="0">
                  <a:pos x="35" y="52"/>
                </a:cxn>
                <a:cxn ang="0">
                  <a:pos x="14" y="6"/>
                </a:cxn>
                <a:cxn ang="0">
                  <a:pos x="0" y="0"/>
                </a:cxn>
              </a:cxnLst>
              <a:rect l="0" t="0" r="r" b="b"/>
              <a:pathLst>
                <a:path w="35" h="61">
                  <a:moveTo>
                    <a:pt x="0" y="0"/>
                  </a:moveTo>
                  <a:lnTo>
                    <a:pt x="27" y="61"/>
                  </a:lnTo>
                  <a:lnTo>
                    <a:pt x="35" y="52"/>
                  </a:lnTo>
                  <a:lnTo>
                    <a:pt x="14" y="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7" name="Freeform 74">
              <a:extLst>
                <a:ext uri="{FF2B5EF4-FFF2-40B4-BE49-F238E27FC236}">
                  <a16:creationId xmlns:a16="http://schemas.microsoft.com/office/drawing/2014/main" id="{9BF131E1-0A3B-4A1A-BAD8-CAEBD7279A76}"/>
                </a:ext>
              </a:extLst>
            </p:cNvPr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5692478" y="3818846"/>
              <a:ext cx="8530" cy="1462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7" y="61"/>
                </a:cxn>
                <a:cxn ang="0">
                  <a:pos x="35" y="52"/>
                </a:cxn>
                <a:cxn ang="0">
                  <a:pos x="14" y="6"/>
                </a:cxn>
                <a:cxn ang="0">
                  <a:pos x="0" y="0"/>
                </a:cxn>
              </a:cxnLst>
              <a:rect l="0" t="0" r="r" b="b"/>
              <a:pathLst>
                <a:path w="35" h="61">
                  <a:moveTo>
                    <a:pt x="0" y="0"/>
                  </a:moveTo>
                  <a:lnTo>
                    <a:pt x="27" y="61"/>
                  </a:lnTo>
                  <a:lnTo>
                    <a:pt x="35" y="52"/>
                  </a:lnTo>
                  <a:lnTo>
                    <a:pt x="14" y="6"/>
                  </a:lnTo>
                  <a:lnTo>
                    <a:pt x="0" y="0"/>
                  </a:lnTo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8" name="Freeform 75">
              <a:extLst>
                <a:ext uri="{FF2B5EF4-FFF2-40B4-BE49-F238E27FC236}">
                  <a16:creationId xmlns:a16="http://schemas.microsoft.com/office/drawing/2014/main" id="{E340BE57-D203-4FA8-A79B-10B9A5E96748}"/>
                </a:ext>
              </a:extLst>
            </p:cNvPr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4625062" y="3049965"/>
              <a:ext cx="10967" cy="25589"/>
            </a:xfrm>
            <a:custGeom>
              <a:avLst/>
              <a:gdLst/>
              <a:ahLst/>
              <a:cxnLst>
                <a:cxn ang="0">
                  <a:pos x="25" y="7"/>
                </a:cxn>
                <a:cxn ang="0">
                  <a:pos x="38" y="85"/>
                </a:cxn>
                <a:cxn ang="0">
                  <a:pos x="35" y="106"/>
                </a:cxn>
                <a:cxn ang="0">
                  <a:pos x="3" y="85"/>
                </a:cxn>
                <a:cxn ang="0">
                  <a:pos x="0" y="17"/>
                </a:cxn>
                <a:cxn ang="0">
                  <a:pos x="11" y="0"/>
                </a:cxn>
                <a:cxn ang="0">
                  <a:pos x="25" y="7"/>
                </a:cxn>
              </a:cxnLst>
              <a:rect l="0" t="0" r="r" b="b"/>
              <a:pathLst>
                <a:path w="38" h="106">
                  <a:moveTo>
                    <a:pt x="25" y="7"/>
                  </a:moveTo>
                  <a:lnTo>
                    <a:pt x="38" y="85"/>
                  </a:lnTo>
                  <a:lnTo>
                    <a:pt x="35" y="106"/>
                  </a:lnTo>
                  <a:lnTo>
                    <a:pt x="3" y="85"/>
                  </a:lnTo>
                  <a:lnTo>
                    <a:pt x="0" y="17"/>
                  </a:lnTo>
                  <a:lnTo>
                    <a:pt x="11" y="0"/>
                  </a:lnTo>
                  <a:lnTo>
                    <a:pt x="25" y="7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9" name="Freeform 77">
              <a:extLst>
                <a:ext uri="{FF2B5EF4-FFF2-40B4-BE49-F238E27FC236}">
                  <a16:creationId xmlns:a16="http://schemas.microsoft.com/office/drawing/2014/main" id="{855F0349-8805-4698-89A9-F3F69D41CE96}"/>
                </a:ext>
              </a:extLst>
            </p:cNvPr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5102719" y="3332660"/>
              <a:ext cx="10967" cy="18278"/>
            </a:xfrm>
            <a:custGeom>
              <a:avLst/>
              <a:gdLst/>
              <a:ahLst/>
              <a:cxnLst>
                <a:cxn ang="0">
                  <a:pos x="6" y="35"/>
                </a:cxn>
                <a:cxn ang="0">
                  <a:pos x="0" y="28"/>
                </a:cxn>
                <a:cxn ang="0">
                  <a:pos x="11" y="69"/>
                </a:cxn>
                <a:cxn ang="0">
                  <a:pos x="17" y="72"/>
                </a:cxn>
                <a:cxn ang="0">
                  <a:pos x="44" y="25"/>
                </a:cxn>
                <a:cxn ang="0">
                  <a:pos x="34" y="0"/>
                </a:cxn>
                <a:cxn ang="0">
                  <a:pos x="14" y="8"/>
                </a:cxn>
                <a:cxn ang="0">
                  <a:pos x="6" y="35"/>
                </a:cxn>
              </a:cxnLst>
              <a:rect l="0" t="0" r="r" b="b"/>
              <a:pathLst>
                <a:path w="44" h="72">
                  <a:moveTo>
                    <a:pt x="6" y="35"/>
                  </a:moveTo>
                  <a:lnTo>
                    <a:pt x="0" y="28"/>
                  </a:lnTo>
                  <a:lnTo>
                    <a:pt x="11" y="69"/>
                  </a:lnTo>
                  <a:lnTo>
                    <a:pt x="17" y="72"/>
                  </a:lnTo>
                  <a:lnTo>
                    <a:pt x="44" y="25"/>
                  </a:lnTo>
                  <a:lnTo>
                    <a:pt x="34" y="0"/>
                  </a:lnTo>
                  <a:lnTo>
                    <a:pt x="14" y="8"/>
                  </a:lnTo>
                  <a:lnTo>
                    <a:pt x="6" y="35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0" name="Freeform 79">
              <a:extLst>
                <a:ext uri="{FF2B5EF4-FFF2-40B4-BE49-F238E27FC236}">
                  <a16:creationId xmlns:a16="http://schemas.microsoft.com/office/drawing/2014/main" id="{52AA04F0-22AD-4EBF-B33E-60885C0DB2EA}"/>
                </a:ext>
              </a:extLst>
            </p:cNvPr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5146585" y="3259549"/>
              <a:ext cx="20716" cy="13404"/>
            </a:xfrm>
            <a:custGeom>
              <a:avLst/>
              <a:gdLst/>
              <a:ahLst/>
              <a:cxnLst>
                <a:cxn ang="0">
                  <a:pos x="31" y="0"/>
                </a:cxn>
                <a:cxn ang="0">
                  <a:pos x="69" y="9"/>
                </a:cxn>
                <a:cxn ang="0">
                  <a:pos x="83" y="47"/>
                </a:cxn>
                <a:cxn ang="0">
                  <a:pos x="51" y="58"/>
                </a:cxn>
                <a:cxn ang="0">
                  <a:pos x="17" y="37"/>
                </a:cxn>
                <a:cxn ang="0">
                  <a:pos x="4" y="44"/>
                </a:cxn>
                <a:cxn ang="0">
                  <a:pos x="0" y="27"/>
                </a:cxn>
                <a:cxn ang="0">
                  <a:pos x="31" y="0"/>
                </a:cxn>
              </a:cxnLst>
              <a:rect l="0" t="0" r="r" b="b"/>
              <a:pathLst>
                <a:path w="83" h="58">
                  <a:moveTo>
                    <a:pt x="31" y="0"/>
                  </a:moveTo>
                  <a:lnTo>
                    <a:pt x="69" y="9"/>
                  </a:lnTo>
                  <a:lnTo>
                    <a:pt x="83" y="47"/>
                  </a:lnTo>
                  <a:lnTo>
                    <a:pt x="51" y="58"/>
                  </a:lnTo>
                  <a:lnTo>
                    <a:pt x="17" y="37"/>
                  </a:lnTo>
                  <a:lnTo>
                    <a:pt x="4" y="44"/>
                  </a:lnTo>
                  <a:lnTo>
                    <a:pt x="0" y="27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1" name="Freeform 81">
              <a:extLst>
                <a:ext uri="{FF2B5EF4-FFF2-40B4-BE49-F238E27FC236}">
                  <a16:creationId xmlns:a16="http://schemas.microsoft.com/office/drawing/2014/main" id="{54E463FC-E21C-44B7-A7FA-77406457A872}"/>
                </a:ext>
              </a:extLst>
            </p:cNvPr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4687207" y="3152320"/>
              <a:ext cx="24370" cy="20716"/>
            </a:xfrm>
            <a:custGeom>
              <a:avLst/>
              <a:gdLst/>
              <a:ahLst/>
              <a:cxnLst>
                <a:cxn ang="0">
                  <a:pos x="48" y="27"/>
                </a:cxn>
                <a:cxn ang="0">
                  <a:pos x="100" y="89"/>
                </a:cxn>
                <a:cxn ang="0">
                  <a:pos x="66" y="89"/>
                </a:cxn>
                <a:cxn ang="0">
                  <a:pos x="38" y="58"/>
                </a:cxn>
                <a:cxn ang="0">
                  <a:pos x="0" y="0"/>
                </a:cxn>
                <a:cxn ang="0">
                  <a:pos x="48" y="27"/>
                </a:cxn>
              </a:cxnLst>
              <a:rect l="0" t="0" r="r" b="b"/>
              <a:pathLst>
                <a:path w="100" h="89">
                  <a:moveTo>
                    <a:pt x="48" y="27"/>
                  </a:moveTo>
                  <a:lnTo>
                    <a:pt x="100" y="89"/>
                  </a:lnTo>
                  <a:lnTo>
                    <a:pt x="66" y="89"/>
                  </a:lnTo>
                  <a:lnTo>
                    <a:pt x="38" y="58"/>
                  </a:lnTo>
                  <a:lnTo>
                    <a:pt x="0" y="0"/>
                  </a:lnTo>
                  <a:lnTo>
                    <a:pt x="48" y="27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2" name="Freeform 82">
              <a:extLst>
                <a:ext uri="{FF2B5EF4-FFF2-40B4-BE49-F238E27FC236}">
                  <a16:creationId xmlns:a16="http://schemas.microsoft.com/office/drawing/2014/main" id="{D975DEAC-9A73-4934-94E1-F2EB3D12FBEF}"/>
                </a:ext>
              </a:extLst>
            </p:cNvPr>
            <p:cNvSpPr>
              <a:spLocks/>
            </p:cNvSpPr>
            <p:nvPr>
              <p:custDataLst>
                <p:tags r:id="rId51"/>
              </p:custDataLst>
            </p:nvPr>
          </p:nvSpPr>
          <p:spPr bwMode="auto">
            <a:xfrm>
              <a:off x="4687207" y="3152320"/>
              <a:ext cx="24370" cy="20716"/>
            </a:xfrm>
            <a:custGeom>
              <a:avLst/>
              <a:gdLst/>
              <a:ahLst/>
              <a:cxnLst>
                <a:cxn ang="0">
                  <a:pos x="48" y="27"/>
                </a:cxn>
                <a:cxn ang="0">
                  <a:pos x="100" y="89"/>
                </a:cxn>
                <a:cxn ang="0">
                  <a:pos x="66" y="89"/>
                </a:cxn>
                <a:cxn ang="0">
                  <a:pos x="38" y="58"/>
                </a:cxn>
                <a:cxn ang="0">
                  <a:pos x="0" y="0"/>
                </a:cxn>
                <a:cxn ang="0">
                  <a:pos x="48" y="27"/>
                </a:cxn>
              </a:cxnLst>
              <a:rect l="0" t="0" r="r" b="b"/>
              <a:pathLst>
                <a:path w="100" h="89">
                  <a:moveTo>
                    <a:pt x="48" y="27"/>
                  </a:moveTo>
                  <a:lnTo>
                    <a:pt x="100" y="89"/>
                  </a:lnTo>
                  <a:lnTo>
                    <a:pt x="66" y="89"/>
                  </a:lnTo>
                  <a:lnTo>
                    <a:pt x="38" y="58"/>
                  </a:lnTo>
                  <a:lnTo>
                    <a:pt x="0" y="0"/>
                  </a:lnTo>
                  <a:lnTo>
                    <a:pt x="48" y="27"/>
                  </a:lnTo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3" name="Freeform 83">
              <a:extLst>
                <a:ext uri="{FF2B5EF4-FFF2-40B4-BE49-F238E27FC236}">
                  <a16:creationId xmlns:a16="http://schemas.microsoft.com/office/drawing/2014/main" id="{F6FC1DCC-52BA-4FDD-A5A0-CE9E232DE04C}"/>
                </a:ext>
              </a:extLst>
            </p:cNvPr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4852924" y="3246146"/>
              <a:ext cx="19496" cy="1096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8" y="14"/>
                </a:cxn>
                <a:cxn ang="0">
                  <a:pos x="76" y="41"/>
                </a:cxn>
                <a:cxn ang="0">
                  <a:pos x="38" y="38"/>
                </a:cxn>
                <a:cxn ang="0">
                  <a:pos x="14" y="24"/>
                </a:cxn>
                <a:cxn ang="0">
                  <a:pos x="0" y="0"/>
                </a:cxn>
              </a:cxnLst>
              <a:rect l="0" t="0" r="r" b="b"/>
              <a:pathLst>
                <a:path w="76" h="41">
                  <a:moveTo>
                    <a:pt x="0" y="0"/>
                  </a:moveTo>
                  <a:lnTo>
                    <a:pt x="58" y="14"/>
                  </a:lnTo>
                  <a:lnTo>
                    <a:pt x="76" y="41"/>
                  </a:lnTo>
                  <a:lnTo>
                    <a:pt x="38" y="38"/>
                  </a:lnTo>
                  <a:lnTo>
                    <a:pt x="14" y="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4" name="Freeform 85">
              <a:extLst>
                <a:ext uri="{FF2B5EF4-FFF2-40B4-BE49-F238E27FC236}">
                  <a16:creationId xmlns:a16="http://schemas.microsoft.com/office/drawing/2014/main" id="{FC55D4E2-F67D-4BE3-A532-7673F8DA0B35}"/>
                </a:ext>
              </a:extLst>
            </p:cNvPr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4832210" y="3259549"/>
              <a:ext cx="21933" cy="17059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17" y="0"/>
                </a:cxn>
                <a:cxn ang="0">
                  <a:pos x="62" y="3"/>
                </a:cxn>
                <a:cxn ang="0">
                  <a:pos x="85" y="38"/>
                </a:cxn>
                <a:cxn ang="0">
                  <a:pos x="65" y="69"/>
                </a:cxn>
                <a:cxn ang="0">
                  <a:pos x="0" y="20"/>
                </a:cxn>
              </a:cxnLst>
              <a:rect l="0" t="0" r="r" b="b"/>
              <a:pathLst>
                <a:path w="85" h="69">
                  <a:moveTo>
                    <a:pt x="0" y="20"/>
                  </a:moveTo>
                  <a:lnTo>
                    <a:pt x="17" y="0"/>
                  </a:lnTo>
                  <a:lnTo>
                    <a:pt x="62" y="3"/>
                  </a:lnTo>
                  <a:lnTo>
                    <a:pt x="85" y="38"/>
                  </a:lnTo>
                  <a:lnTo>
                    <a:pt x="65" y="69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5" name="Freeform 87">
              <a:extLst>
                <a:ext uri="{FF2B5EF4-FFF2-40B4-BE49-F238E27FC236}">
                  <a16:creationId xmlns:a16="http://schemas.microsoft.com/office/drawing/2014/main" id="{2669A5AD-3A27-4AF5-BF55-FE4F96034CB5}"/>
                </a:ext>
              </a:extLst>
            </p:cNvPr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4402076" y="2968326"/>
              <a:ext cx="76766" cy="69455"/>
            </a:xfrm>
            <a:custGeom>
              <a:avLst/>
              <a:gdLst/>
              <a:ahLst/>
              <a:cxnLst>
                <a:cxn ang="0">
                  <a:pos x="197" y="76"/>
                </a:cxn>
                <a:cxn ang="0">
                  <a:pos x="186" y="52"/>
                </a:cxn>
                <a:cxn ang="0">
                  <a:pos x="168" y="45"/>
                </a:cxn>
                <a:cxn ang="0">
                  <a:pos x="172" y="28"/>
                </a:cxn>
                <a:cxn ang="0">
                  <a:pos x="134" y="0"/>
                </a:cxn>
                <a:cxn ang="0">
                  <a:pos x="104" y="52"/>
                </a:cxn>
                <a:cxn ang="0">
                  <a:pos x="107" y="66"/>
                </a:cxn>
                <a:cxn ang="0">
                  <a:pos x="82" y="66"/>
                </a:cxn>
                <a:cxn ang="0">
                  <a:pos x="86" y="107"/>
                </a:cxn>
                <a:cxn ang="0">
                  <a:pos x="69" y="127"/>
                </a:cxn>
                <a:cxn ang="0">
                  <a:pos x="11" y="138"/>
                </a:cxn>
                <a:cxn ang="0">
                  <a:pos x="0" y="173"/>
                </a:cxn>
                <a:cxn ang="0">
                  <a:pos x="24" y="197"/>
                </a:cxn>
                <a:cxn ang="0">
                  <a:pos x="24" y="186"/>
                </a:cxn>
                <a:cxn ang="0">
                  <a:pos x="41" y="179"/>
                </a:cxn>
                <a:cxn ang="0">
                  <a:pos x="66" y="214"/>
                </a:cxn>
                <a:cxn ang="0">
                  <a:pos x="79" y="203"/>
                </a:cxn>
                <a:cxn ang="0">
                  <a:pos x="134" y="258"/>
                </a:cxn>
                <a:cxn ang="0">
                  <a:pos x="217" y="286"/>
                </a:cxn>
                <a:cxn ang="0">
                  <a:pos x="234" y="261"/>
                </a:cxn>
                <a:cxn ang="0">
                  <a:pos x="266" y="241"/>
                </a:cxn>
                <a:cxn ang="0">
                  <a:pos x="286" y="248"/>
                </a:cxn>
                <a:cxn ang="0">
                  <a:pos x="303" y="224"/>
                </a:cxn>
                <a:cxn ang="0">
                  <a:pos x="282" y="231"/>
                </a:cxn>
                <a:cxn ang="0">
                  <a:pos x="266" y="211"/>
                </a:cxn>
                <a:cxn ang="0">
                  <a:pos x="252" y="151"/>
                </a:cxn>
                <a:cxn ang="0">
                  <a:pos x="197" y="76"/>
                </a:cxn>
              </a:cxnLst>
              <a:rect l="0" t="0" r="r" b="b"/>
              <a:pathLst>
                <a:path w="303" h="286">
                  <a:moveTo>
                    <a:pt x="197" y="76"/>
                  </a:moveTo>
                  <a:lnTo>
                    <a:pt x="186" y="52"/>
                  </a:lnTo>
                  <a:lnTo>
                    <a:pt x="168" y="45"/>
                  </a:lnTo>
                  <a:lnTo>
                    <a:pt x="172" y="28"/>
                  </a:lnTo>
                  <a:lnTo>
                    <a:pt x="134" y="0"/>
                  </a:lnTo>
                  <a:lnTo>
                    <a:pt x="104" y="52"/>
                  </a:lnTo>
                  <a:lnTo>
                    <a:pt x="107" y="66"/>
                  </a:lnTo>
                  <a:lnTo>
                    <a:pt x="82" y="66"/>
                  </a:lnTo>
                  <a:lnTo>
                    <a:pt x="86" y="107"/>
                  </a:lnTo>
                  <a:lnTo>
                    <a:pt x="69" y="127"/>
                  </a:lnTo>
                  <a:lnTo>
                    <a:pt x="11" y="138"/>
                  </a:lnTo>
                  <a:lnTo>
                    <a:pt x="0" y="173"/>
                  </a:lnTo>
                  <a:lnTo>
                    <a:pt x="24" y="197"/>
                  </a:lnTo>
                  <a:lnTo>
                    <a:pt x="24" y="186"/>
                  </a:lnTo>
                  <a:lnTo>
                    <a:pt x="41" y="179"/>
                  </a:lnTo>
                  <a:lnTo>
                    <a:pt x="66" y="214"/>
                  </a:lnTo>
                  <a:lnTo>
                    <a:pt x="79" y="203"/>
                  </a:lnTo>
                  <a:lnTo>
                    <a:pt x="134" y="258"/>
                  </a:lnTo>
                  <a:lnTo>
                    <a:pt x="217" y="286"/>
                  </a:lnTo>
                  <a:lnTo>
                    <a:pt x="234" y="261"/>
                  </a:lnTo>
                  <a:lnTo>
                    <a:pt x="266" y="241"/>
                  </a:lnTo>
                  <a:lnTo>
                    <a:pt x="286" y="248"/>
                  </a:lnTo>
                  <a:lnTo>
                    <a:pt x="303" y="224"/>
                  </a:lnTo>
                  <a:lnTo>
                    <a:pt x="282" y="231"/>
                  </a:lnTo>
                  <a:lnTo>
                    <a:pt x="266" y="211"/>
                  </a:lnTo>
                  <a:lnTo>
                    <a:pt x="252" y="151"/>
                  </a:lnTo>
                  <a:lnTo>
                    <a:pt x="197" y="76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6" name="Freeform 88">
              <a:extLst>
                <a:ext uri="{FF2B5EF4-FFF2-40B4-BE49-F238E27FC236}">
                  <a16:creationId xmlns:a16="http://schemas.microsoft.com/office/drawing/2014/main" id="{2A96A34A-7686-464B-AD1D-59D953EEEC23}"/>
                </a:ext>
              </a:extLst>
            </p:cNvPr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4402076" y="2968326"/>
              <a:ext cx="76766" cy="69455"/>
            </a:xfrm>
            <a:custGeom>
              <a:avLst/>
              <a:gdLst/>
              <a:ahLst/>
              <a:cxnLst>
                <a:cxn ang="0">
                  <a:pos x="197" y="76"/>
                </a:cxn>
                <a:cxn ang="0">
                  <a:pos x="186" y="52"/>
                </a:cxn>
                <a:cxn ang="0">
                  <a:pos x="168" y="45"/>
                </a:cxn>
                <a:cxn ang="0">
                  <a:pos x="172" y="28"/>
                </a:cxn>
                <a:cxn ang="0">
                  <a:pos x="134" y="0"/>
                </a:cxn>
                <a:cxn ang="0">
                  <a:pos x="104" y="52"/>
                </a:cxn>
                <a:cxn ang="0">
                  <a:pos x="107" y="66"/>
                </a:cxn>
                <a:cxn ang="0">
                  <a:pos x="82" y="66"/>
                </a:cxn>
                <a:cxn ang="0">
                  <a:pos x="86" y="107"/>
                </a:cxn>
                <a:cxn ang="0">
                  <a:pos x="69" y="127"/>
                </a:cxn>
                <a:cxn ang="0">
                  <a:pos x="11" y="138"/>
                </a:cxn>
                <a:cxn ang="0">
                  <a:pos x="0" y="173"/>
                </a:cxn>
                <a:cxn ang="0">
                  <a:pos x="24" y="197"/>
                </a:cxn>
                <a:cxn ang="0">
                  <a:pos x="24" y="186"/>
                </a:cxn>
                <a:cxn ang="0">
                  <a:pos x="41" y="179"/>
                </a:cxn>
                <a:cxn ang="0">
                  <a:pos x="66" y="214"/>
                </a:cxn>
                <a:cxn ang="0">
                  <a:pos x="79" y="203"/>
                </a:cxn>
                <a:cxn ang="0">
                  <a:pos x="134" y="258"/>
                </a:cxn>
                <a:cxn ang="0">
                  <a:pos x="217" y="286"/>
                </a:cxn>
                <a:cxn ang="0">
                  <a:pos x="234" y="261"/>
                </a:cxn>
                <a:cxn ang="0">
                  <a:pos x="266" y="241"/>
                </a:cxn>
                <a:cxn ang="0">
                  <a:pos x="286" y="248"/>
                </a:cxn>
                <a:cxn ang="0">
                  <a:pos x="303" y="224"/>
                </a:cxn>
                <a:cxn ang="0">
                  <a:pos x="282" y="231"/>
                </a:cxn>
                <a:cxn ang="0">
                  <a:pos x="266" y="211"/>
                </a:cxn>
                <a:cxn ang="0">
                  <a:pos x="252" y="151"/>
                </a:cxn>
                <a:cxn ang="0">
                  <a:pos x="197" y="76"/>
                </a:cxn>
              </a:cxnLst>
              <a:rect l="0" t="0" r="r" b="b"/>
              <a:pathLst>
                <a:path w="303" h="286">
                  <a:moveTo>
                    <a:pt x="197" y="76"/>
                  </a:moveTo>
                  <a:lnTo>
                    <a:pt x="186" y="52"/>
                  </a:lnTo>
                  <a:lnTo>
                    <a:pt x="168" y="45"/>
                  </a:lnTo>
                  <a:lnTo>
                    <a:pt x="172" y="28"/>
                  </a:lnTo>
                  <a:lnTo>
                    <a:pt x="134" y="0"/>
                  </a:lnTo>
                  <a:lnTo>
                    <a:pt x="104" y="52"/>
                  </a:lnTo>
                  <a:lnTo>
                    <a:pt x="107" y="66"/>
                  </a:lnTo>
                  <a:lnTo>
                    <a:pt x="82" y="66"/>
                  </a:lnTo>
                  <a:lnTo>
                    <a:pt x="86" y="107"/>
                  </a:lnTo>
                  <a:lnTo>
                    <a:pt x="69" y="127"/>
                  </a:lnTo>
                  <a:lnTo>
                    <a:pt x="11" y="138"/>
                  </a:lnTo>
                  <a:lnTo>
                    <a:pt x="0" y="173"/>
                  </a:lnTo>
                  <a:lnTo>
                    <a:pt x="24" y="197"/>
                  </a:lnTo>
                  <a:lnTo>
                    <a:pt x="24" y="186"/>
                  </a:lnTo>
                  <a:lnTo>
                    <a:pt x="41" y="179"/>
                  </a:lnTo>
                  <a:lnTo>
                    <a:pt x="66" y="214"/>
                  </a:lnTo>
                  <a:lnTo>
                    <a:pt x="79" y="203"/>
                  </a:lnTo>
                  <a:lnTo>
                    <a:pt x="134" y="258"/>
                  </a:lnTo>
                  <a:lnTo>
                    <a:pt x="217" y="286"/>
                  </a:lnTo>
                  <a:lnTo>
                    <a:pt x="234" y="261"/>
                  </a:lnTo>
                  <a:lnTo>
                    <a:pt x="266" y="241"/>
                  </a:lnTo>
                  <a:lnTo>
                    <a:pt x="286" y="248"/>
                  </a:lnTo>
                  <a:lnTo>
                    <a:pt x="303" y="224"/>
                  </a:lnTo>
                  <a:lnTo>
                    <a:pt x="282" y="231"/>
                  </a:lnTo>
                  <a:lnTo>
                    <a:pt x="266" y="211"/>
                  </a:lnTo>
                  <a:lnTo>
                    <a:pt x="252" y="151"/>
                  </a:lnTo>
                  <a:lnTo>
                    <a:pt x="197" y="76"/>
                  </a:lnTo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7" name="Freeform 89">
              <a:extLst>
                <a:ext uri="{FF2B5EF4-FFF2-40B4-BE49-F238E27FC236}">
                  <a16:creationId xmlns:a16="http://schemas.microsoft.com/office/drawing/2014/main" id="{3E669AE4-99CC-4F84-8BD1-DAFD01FE63D6}"/>
                </a:ext>
              </a:extLst>
            </p:cNvPr>
            <p:cNvSpPr>
              <a:spLocks/>
            </p:cNvSpPr>
            <p:nvPr>
              <p:custDataLst>
                <p:tags r:id="rId56"/>
              </p:custDataLst>
            </p:nvPr>
          </p:nvSpPr>
          <p:spPr bwMode="auto">
            <a:xfrm>
              <a:off x="4815151" y="3023158"/>
              <a:ext cx="43866" cy="56052"/>
            </a:xfrm>
            <a:custGeom>
              <a:avLst/>
              <a:gdLst/>
              <a:ahLst/>
              <a:cxnLst>
                <a:cxn ang="0">
                  <a:pos x="0" y="144"/>
                </a:cxn>
                <a:cxn ang="0">
                  <a:pos x="52" y="234"/>
                </a:cxn>
                <a:cxn ang="0">
                  <a:pos x="135" y="198"/>
                </a:cxn>
                <a:cxn ang="0">
                  <a:pos x="173" y="138"/>
                </a:cxn>
                <a:cxn ang="0">
                  <a:pos x="165" y="55"/>
                </a:cxn>
                <a:cxn ang="0">
                  <a:pos x="114" y="0"/>
                </a:cxn>
                <a:cxn ang="0">
                  <a:pos x="30" y="20"/>
                </a:cxn>
                <a:cxn ang="0">
                  <a:pos x="0" y="144"/>
                </a:cxn>
              </a:cxnLst>
              <a:rect l="0" t="0" r="r" b="b"/>
              <a:pathLst>
                <a:path w="173" h="234">
                  <a:moveTo>
                    <a:pt x="0" y="144"/>
                  </a:moveTo>
                  <a:lnTo>
                    <a:pt x="52" y="234"/>
                  </a:lnTo>
                  <a:lnTo>
                    <a:pt x="135" y="198"/>
                  </a:lnTo>
                  <a:lnTo>
                    <a:pt x="173" y="138"/>
                  </a:lnTo>
                  <a:lnTo>
                    <a:pt x="165" y="55"/>
                  </a:lnTo>
                  <a:lnTo>
                    <a:pt x="114" y="0"/>
                  </a:lnTo>
                  <a:lnTo>
                    <a:pt x="30" y="20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8" name="Freeform 91">
              <a:extLst>
                <a:ext uri="{FF2B5EF4-FFF2-40B4-BE49-F238E27FC236}">
                  <a16:creationId xmlns:a16="http://schemas.microsoft.com/office/drawing/2014/main" id="{25530516-76C7-49E6-BB27-7468B053DB0F}"/>
                </a:ext>
              </a:extLst>
            </p:cNvPr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4441068" y="2575965"/>
              <a:ext cx="17059" cy="9748"/>
            </a:xfrm>
            <a:custGeom>
              <a:avLst/>
              <a:gdLst/>
              <a:ahLst/>
              <a:cxnLst>
                <a:cxn ang="0">
                  <a:pos x="28" y="3"/>
                </a:cxn>
                <a:cxn ang="0">
                  <a:pos x="39" y="0"/>
                </a:cxn>
                <a:cxn ang="0">
                  <a:pos x="66" y="41"/>
                </a:cxn>
                <a:cxn ang="0">
                  <a:pos x="14" y="41"/>
                </a:cxn>
                <a:cxn ang="0">
                  <a:pos x="0" y="3"/>
                </a:cxn>
                <a:cxn ang="0">
                  <a:pos x="28" y="3"/>
                </a:cxn>
              </a:cxnLst>
              <a:rect l="0" t="0" r="r" b="b"/>
              <a:pathLst>
                <a:path w="66" h="41">
                  <a:moveTo>
                    <a:pt x="28" y="3"/>
                  </a:moveTo>
                  <a:lnTo>
                    <a:pt x="39" y="0"/>
                  </a:lnTo>
                  <a:lnTo>
                    <a:pt x="66" y="41"/>
                  </a:lnTo>
                  <a:lnTo>
                    <a:pt x="14" y="41"/>
                  </a:lnTo>
                  <a:lnTo>
                    <a:pt x="0" y="3"/>
                  </a:lnTo>
                  <a:lnTo>
                    <a:pt x="28" y="3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9" name="Freeform 92">
              <a:extLst>
                <a:ext uri="{FF2B5EF4-FFF2-40B4-BE49-F238E27FC236}">
                  <a16:creationId xmlns:a16="http://schemas.microsoft.com/office/drawing/2014/main" id="{895F4C51-2ECF-4E2C-8649-29B39BE91C5A}"/>
                </a:ext>
              </a:extLst>
            </p:cNvPr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4441068" y="2575965"/>
              <a:ext cx="17059" cy="9748"/>
            </a:xfrm>
            <a:custGeom>
              <a:avLst/>
              <a:gdLst/>
              <a:ahLst/>
              <a:cxnLst>
                <a:cxn ang="0">
                  <a:pos x="28" y="3"/>
                </a:cxn>
                <a:cxn ang="0">
                  <a:pos x="39" y="0"/>
                </a:cxn>
                <a:cxn ang="0">
                  <a:pos x="66" y="41"/>
                </a:cxn>
                <a:cxn ang="0">
                  <a:pos x="14" y="41"/>
                </a:cxn>
                <a:cxn ang="0">
                  <a:pos x="0" y="3"/>
                </a:cxn>
                <a:cxn ang="0">
                  <a:pos x="28" y="3"/>
                </a:cxn>
              </a:cxnLst>
              <a:rect l="0" t="0" r="r" b="b"/>
              <a:pathLst>
                <a:path w="66" h="41">
                  <a:moveTo>
                    <a:pt x="28" y="3"/>
                  </a:moveTo>
                  <a:lnTo>
                    <a:pt x="39" y="0"/>
                  </a:lnTo>
                  <a:lnTo>
                    <a:pt x="66" y="41"/>
                  </a:lnTo>
                  <a:lnTo>
                    <a:pt x="14" y="41"/>
                  </a:lnTo>
                  <a:lnTo>
                    <a:pt x="0" y="3"/>
                  </a:lnTo>
                  <a:lnTo>
                    <a:pt x="28" y="3"/>
                  </a:lnTo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" name="Freeform 93">
              <a:extLst>
                <a:ext uri="{FF2B5EF4-FFF2-40B4-BE49-F238E27FC236}">
                  <a16:creationId xmlns:a16="http://schemas.microsoft.com/office/drawing/2014/main" id="{E3327023-34DD-42B9-AB6C-7A08510FE99F}"/>
                </a:ext>
              </a:extLst>
            </p:cNvPr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4483715" y="2691723"/>
              <a:ext cx="14622" cy="13404"/>
            </a:xfrm>
            <a:custGeom>
              <a:avLst/>
              <a:gdLst/>
              <a:ahLst/>
              <a:cxnLst>
                <a:cxn ang="0">
                  <a:pos x="38" y="17"/>
                </a:cxn>
                <a:cxn ang="0">
                  <a:pos x="13" y="55"/>
                </a:cxn>
                <a:cxn ang="0">
                  <a:pos x="0" y="52"/>
                </a:cxn>
                <a:cxn ang="0">
                  <a:pos x="0" y="30"/>
                </a:cxn>
                <a:cxn ang="0">
                  <a:pos x="30" y="14"/>
                </a:cxn>
                <a:cxn ang="0">
                  <a:pos x="38" y="0"/>
                </a:cxn>
                <a:cxn ang="0">
                  <a:pos x="52" y="17"/>
                </a:cxn>
                <a:cxn ang="0">
                  <a:pos x="55" y="30"/>
                </a:cxn>
                <a:cxn ang="0">
                  <a:pos x="44" y="41"/>
                </a:cxn>
                <a:cxn ang="0">
                  <a:pos x="38" y="17"/>
                </a:cxn>
              </a:cxnLst>
              <a:rect l="0" t="0" r="r" b="b"/>
              <a:pathLst>
                <a:path w="55" h="55">
                  <a:moveTo>
                    <a:pt x="38" y="17"/>
                  </a:moveTo>
                  <a:lnTo>
                    <a:pt x="13" y="55"/>
                  </a:lnTo>
                  <a:lnTo>
                    <a:pt x="0" y="52"/>
                  </a:lnTo>
                  <a:lnTo>
                    <a:pt x="0" y="30"/>
                  </a:lnTo>
                  <a:lnTo>
                    <a:pt x="30" y="14"/>
                  </a:lnTo>
                  <a:lnTo>
                    <a:pt x="38" y="0"/>
                  </a:lnTo>
                  <a:lnTo>
                    <a:pt x="52" y="17"/>
                  </a:lnTo>
                  <a:lnTo>
                    <a:pt x="55" y="30"/>
                  </a:lnTo>
                  <a:lnTo>
                    <a:pt x="44" y="41"/>
                  </a:lnTo>
                  <a:lnTo>
                    <a:pt x="38" y="17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1" name="Freeform 94">
              <a:extLst>
                <a:ext uri="{FF2B5EF4-FFF2-40B4-BE49-F238E27FC236}">
                  <a16:creationId xmlns:a16="http://schemas.microsoft.com/office/drawing/2014/main" id="{CD1D4EEC-25DE-4CFD-8997-5F93F01610FE}"/>
                </a:ext>
              </a:extLst>
            </p:cNvPr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4483715" y="2691723"/>
              <a:ext cx="14622" cy="13404"/>
            </a:xfrm>
            <a:custGeom>
              <a:avLst/>
              <a:gdLst/>
              <a:ahLst/>
              <a:cxnLst>
                <a:cxn ang="0">
                  <a:pos x="38" y="17"/>
                </a:cxn>
                <a:cxn ang="0">
                  <a:pos x="13" y="55"/>
                </a:cxn>
                <a:cxn ang="0">
                  <a:pos x="0" y="52"/>
                </a:cxn>
                <a:cxn ang="0">
                  <a:pos x="0" y="30"/>
                </a:cxn>
                <a:cxn ang="0">
                  <a:pos x="30" y="14"/>
                </a:cxn>
                <a:cxn ang="0">
                  <a:pos x="38" y="0"/>
                </a:cxn>
                <a:cxn ang="0">
                  <a:pos x="52" y="17"/>
                </a:cxn>
                <a:cxn ang="0">
                  <a:pos x="55" y="30"/>
                </a:cxn>
                <a:cxn ang="0">
                  <a:pos x="44" y="41"/>
                </a:cxn>
                <a:cxn ang="0">
                  <a:pos x="38" y="17"/>
                </a:cxn>
              </a:cxnLst>
              <a:rect l="0" t="0" r="r" b="b"/>
              <a:pathLst>
                <a:path w="55" h="55">
                  <a:moveTo>
                    <a:pt x="38" y="17"/>
                  </a:moveTo>
                  <a:lnTo>
                    <a:pt x="13" y="55"/>
                  </a:lnTo>
                  <a:lnTo>
                    <a:pt x="0" y="52"/>
                  </a:lnTo>
                  <a:lnTo>
                    <a:pt x="0" y="30"/>
                  </a:lnTo>
                  <a:lnTo>
                    <a:pt x="30" y="14"/>
                  </a:lnTo>
                  <a:lnTo>
                    <a:pt x="38" y="0"/>
                  </a:lnTo>
                  <a:lnTo>
                    <a:pt x="52" y="17"/>
                  </a:lnTo>
                  <a:lnTo>
                    <a:pt x="55" y="30"/>
                  </a:lnTo>
                  <a:lnTo>
                    <a:pt x="44" y="41"/>
                  </a:lnTo>
                  <a:lnTo>
                    <a:pt x="38" y="17"/>
                  </a:lnTo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2" name="Freeform 95">
              <a:extLst>
                <a:ext uri="{FF2B5EF4-FFF2-40B4-BE49-F238E27FC236}">
                  <a16:creationId xmlns:a16="http://schemas.microsoft.com/office/drawing/2014/main" id="{96126269-0900-4ADC-BD76-54AC660A146D}"/>
                </a:ext>
              </a:extLst>
            </p:cNvPr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4856580" y="3024377"/>
              <a:ext cx="26807" cy="17059"/>
            </a:xfrm>
            <a:custGeom>
              <a:avLst/>
              <a:gdLst/>
              <a:ahLst/>
              <a:cxnLst>
                <a:cxn ang="0">
                  <a:pos x="0" y="38"/>
                </a:cxn>
                <a:cxn ang="0">
                  <a:pos x="23" y="0"/>
                </a:cxn>
                <a:cxn ang="0">
                  <a:pos x="34" y="14"/>
                </a:cxn>
                <a:cxn ang="0">
                  <a:pos x="78" y="21"/>
                </a:cxn>
                <a:cxn ang="0">
                  <a:pos x="100" y="52"/>
                </a:cxn>
                <a:cxn ang="0">
                  <a:pos x="89" y="69"/>
                </a:cxn>
                <a:cxn ang="0">
                  <a:pos x="34" y="73"/>
                </a:cxn>
                <a:cxn ang="0">
                  <a:pos x="10" y="58"/>
                </a:cxn>
                <a:cxn ang="0">
                  <a:pos x="0" y="38"/>
                </a:cxn>
              </a:cxnLst>
              <a:rect l="0" t="0" r="r" b="b"/>
              <a:pathLst>
                <a:path w="100" h="73">
                  <a:moveTo>
                    <a:pt x="0" y="38"/>
                  </a:moveTo>
                  <a:lnTo>
                    <a:pt x="23" y="0"/>
                  </a:lnTo>
                  <a:lnTo>
                    <a:pt x="34" y="14"/>
                  </a:lnTo>
                  <a:lnTo>
                    <a:pt x="78" y="21"/>
                  </a:lnTo>
                  <a:lnTo>
                    <a:pt x="100" y="52"/>
                  </a:lnTo>
                  <a:lnTo>
                    <a:pt x="89" y="69"/>
                  </a:lnTo>
                  <a:lnTo>
                    <a:pt x="34" y="73"/>
                  </a:lnTo>
                  <a:lnTo>
                    <a:pt x="10" y="58"/>
                  </a:lnTo>
                  <a:lnTo>
                    <a:pt x="0" y="38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3" name="Freeform 97">
              <a:extLst>
                <a:ext uri="{FF2B5EF4-FFF2-40B4-BE49-F238E27FC236}">
                  <a16:creationId xmlns:a16="http://schemas.microsoft.com/office/drawing/2014/main" id="{28B2F78E-DAE8-4BF4-AABB-B356CBDD09A4}"/>
                </a:ext>
              </a:extLst>
            </p:cNvPr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4491027" y="2768490"/>
              <a:ext cx="79203" cy="103573"/>
            </a:xfrm>
            <a:custGeom>
              <a:avLst/>
              <a:gdLst/>
              <a:ahLst/>
              <a:cxnLst>
                <a:cxn ang="0">
                  <a:pos x="55" y="14"/>
                </a:cxn>
                <a:cxn ang="0">
                  <a:pos x="141" y="0"/>
                </a:cxn>
                <a:cxn ang="0">
                  <a:pos x="179" y="28"/>
                </a:cxn>
                <a:cxn ang="0">
                  <a:pos x="192" y="20"/>
                </a:cxn>
                <a:cxn ang="0">
                  <a:pos x="203" y="45"/>
                </a:cxn>
                <a:cxn ang="0">
                  <a:pos x="254" y="37"/>
                </a:cxn>
                <a:cxn ang="0">
                  <a:pos x="310" y="58"/>
                </a:cxn>
                <a:cxn ang="0">
                  <a:pos x="289" y="121"/>
                </a:cxn>
                <a:cxn ang="0">
                  <a:pos x="268" y="121"/>
                </a:cxn>
                <a:cxn ang="0">
                  <a:pos x="264" y="130"/>
                </a:cxn>
                <a:cxn ang="0">
                  <a:pos x="272" y="135"/>
                </a:cxn>
                <a:cxn ang="0">
                  <a:pos x="272" y="144"/>
                </a:cxn>
                <a:cxn ang="0">
                  <a:pos x="258" y="182"/>
                </a:cxn>
                <a:cxn ang="0">
                  <a:pos x="237" y="193"/>
                </a:cxn>
                <a:cxn ang="0">
                  <a:pos x="247" y="196"/>
                </a:cxn>
                <a:cxn ang="0">
                  <a:pos x="240" y="217"/>
                </a:cxn>
                <a:cxn ang="0">
                  <a:pos x="199" y="289"/>
                </a:cxn>
                <a:cxn ang="0">
                  <a:pos x="137" y="272"/>
                </a:cxn>
                <a:cxn ang="0">
                  <a:pos x="72" y="279"/>
                </a:cxn>
                <a:cxn ang="0">
                  <a:pos x="99" y="292"/>
                </a:cxn>
                <a:cxn ang="0">
                  <a:pos x="119" y="338"/>
                </a:cxn>
                <a:cxn ang="0">
                  <a:pos x="75" y="410"/>
                </a:cxn>
                <a:cxn ang="0">
                  <a:pos x="23" y="423"/>
                </a:cxn>
                <a:cxn ang="0">
                  <a:pos x="9" y="413"/>
                </a:cxn>
                <a:cxn ang="0">
                  <a:pos x="31" y="393"/>
                </a:cxn>
                <a:cxn ang="0">
                  <a:pos x="14" y="382"/>
                </a:cxn>
                <a:cxn ang="0">
                  <a:pos x="17" y="338"/>
                </a:cxn>
                <a:cxn ang="0">
                  <a:pos x="37" y="310"/>
                </a:cxn>
                <a:cxn ang="0">
                  <a:pos x="17" y="317"/>
                </a:cxn>
                <a:cxn ang="0">
                  <a:pos x="0" y="283"/>
                </a:cxn>
                <a:cxn ang="0">
                  <a:pos x="0" y="237"/>
                </a:cxn>
                <a:cxn ang="0">
                  <a:pos x="3" y="203"/>
                </a:cxn>
                <a:cxn ang="0">
                  <a:pos x="9" y="196"/>
                </a:cxn>
                <a:cxn ang="0">
                  <a:pos x="17" y="75"/>
                </a:cxn>
                <a:cxn ang="0">
                  <a:pos x="23" y="65"/>
                </a:cxn>
                <a:cxn ang="0">
                  <a:pos x="72" y="103"/>
                </a:cxn>
                <a:cxn ang="0">
                  <a:pos x="51" y="86"/>
                </a:cxn>
                <a:cxn ang="0">
                  <a:pos x="51" y="58"/>
                </a:cxn>
                <a:cxn ang="0">
                  <a:pos x="34" y="45"/>
                </a:cxn>
                <a:cxn ang="0">
                  <a:pos x="37" y="20"/>
                </a:cxn>
                <a:cxn ang="0">
                  <a:pos x="55" y="14"/>
                </a:cxn>
              </a:cxnLst>
              <a:rect l="0" t="0" r="r" b="b"/>
              <a:pathLst>
                <a:path w="310" h="423">
                  <a:moveTo>
                    <a:pt x="55" y="14"/>
                  </a:moveTo>
                  <a:lnTo>
                    <a:pt x="141" y="0"/>
                  </a:lnTo>
                  <a:lnTo>
                    <a:pt x="179" y="28"/>
                  </a:lnTo>
                  <a:lnTo>
                    <a:pt x="192" y="20"/>
                  </a:lnTo>
                  <a:lnTo>
                    <a:pt x="203" y="45"/>
                  </a:lnTo>
                  <a:lnTo>
                    <a:pt x="254" y="37"/>
                  </a:lnTo>
                  <a:lnTo>
                    <a:pt x="310" y="58"/>
                  </a:lnTo>
                  <a:lnTo>
                    <a:pt x="289" y="121"/>
                  </a:lnTo>
                  <a:lnTo>
                    <a:pt x="268" y="121"/>
                  </a:lnTo>
                  <a:lnTo>
                    <a:pt x="264" y="130"/>
                  </a:lnTo>
                  <a:lnTo>
                    <a:pt x="272" y="135"/>
                  </a:lnTo>
                  <a:lnTo>
                    <a:pt x="272" y="144"/>
                  </a:lnTo>
                  <a:lnTo>
                    <a:pt x="258" y="182"/>
                  </a:lnTo>
                  <a:lnTo>
                    <a:pt x="237" y="193"/>
                  </a:lnTo>
                  <a:lnTo>
                    <a:pt x="247" y="196"/>
                  </a:lnTo>
                  <a:lnTo>
                    <a:pt x="240" y="217"/>
                  </a:lnTo>
                  <a:lnTo>
                    <a:pt x="199" y="289"/>
                  </a:lnTo>
                  <a:lnTo>
                    <a:pt x="137" y="272"/>
                  </a:lnTo>
                  <a:lnTo>
                    <a:pt x="72" y="279"/>
                  </a:lnTo>
                  <a:lnTo>
                    <a:pt x="99" y="292"/>
                  </a:lnTo>
                  <a:lnTo>
                    <a:pt x="119" y="338"/>
                  </a:lnTo>
                  <a:lnTo>
                    <a:pt x="75" y="410"/>
                  </a:lnTo>
                  <a:lnTo>
                    <a:pt x="23" y="423"/>
                  </a:lnTo>
                  <a:lnTo>
                    <a:pt x="9" y="413"/>
                  </a:lnTo>
                  <a:lnTo>
                    <a:pt x="31" y="393"/>
                  </a:lnTo>
                  <a:lnTo>
                    <a:pt x="14" y="382"/>
                  </a:lnTo>
                  <a:lnTo>
                    <a:pt x="17" y="338"/>
                  </a:lnTo>
                  <a:lnTo>
                    <a:pt x="37" y="310"/>
                  </a:lnTo>
                  <a:lnTo>
                    <a:pt x="17" y="317"/>
                  </a:lnTo>
                  <a:lnTo>
                    <a:pt x="0" y="283"/>
                  </a:lnTo>
                  <a:lnTo>
                    <a:pt x="0" y="237"/>
                  </a:lnTo>
                  <a:lnTo>
                    <a:pt x="3" y="203"/>
                  </a:lnTo>
                  <a:lnTo>
                    <a:pt x="9" y="196"/>
                  </a:lnTo>
                  <a:lnTo>
                    <a:pt x="17" y="75"/>
                  </a:lnTo>
                  <a:lnTo>
                    <a:pt x="23" y="65"/>
                  </a:lnTo>
                  <a:lnTo>
                    <a:pt x="72" y="103"/>
                  </a:lnTo>
                  <a:lnTo>
                    <a:pt x="51" y="86"/>
                  </a:lnTo>
                  <a:lnTo>
                    <a:pt x="51" y="58"/>
                  </a:lnTo>
                  <a:lnTo>
                    <a:pt x="34" y="45"/>
                  </a:lnTo>
                  <a:lnTo>
                    <a:pt x="37" y="20"/>
                  </a:lnTo>
                  <a:lnTo>
                    <a:pt x="55" y="14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4" name="Freeform 99">
              <a:extLst>
                <a:ext uri="{FF2B5EF4-FFF2-40B4-BE49-F238E27FC236}">
                  <a16:creationId xmlns:a16="http://schemas.microsoft.com/office/drawing/2014/main" id="{468F2BAC-2EAF-4590-B6C9-1B469905533D}"/>
                </a:ext>
              </a:extLst>
            </p:cNvPr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4698173" y="2667353"/>
              <a:ext cx="9748" cy="14622"/>
            </a:xfrm>
            <a:custGeom>
              <a:avLst/>
              <a:gdLst/>
              <a:ahLst/>
              <a:cxnLst>
                <a:cxn ang="0">
                  <a:pos x="24" y="7"/>
                </a:cxn>
                <a:cxn ang="0">
                  <a:pos x="24" y="34"/>
                </a:cxn>
                <a:cxn ang="0">
                  <a:pos x="41" y="52"/>
                </a:cxn>
                <a:cxn ang="0">
                  <a:pos x="0" y="59"/>
                </a:cxn>
                <a:cxn ang="0">
                  <a:pos x="10" y="0"/>
                </a:cxn>
                <a:cxn ang="0">
                  <a:pos x="24" y="7"/>
                </a:cxn>
              </a:cxnLst>
              <a:rect l="0" t="0" r="r" b="b"/>
              <a:pathLst>
                <a:path w="41" h="59">
                  <a:moveTo>
                    <a:pt x="24" y="7"/>
                  </a:moveTo>
                  <a:lnTo>
                    <a:pt x="24" y="34"/>
                  </a:lnTo>
                  <a:lnTo>
                    <a:pt x="41" y="52"/>
                  </a:lnTo>
                  <a:lnTo>
                    <a:pt x="0" y="59"/>
                  </a:lnTo>
                  <a:lnTo>
                    <a:pt x="10" y="0"/>
                  </a:lnTo>
                  <a:lnTo>
                    <a:pt x="24" y="7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5" name="Freeform 100">
              <a:extLst>
                <a:ext uri="{FF2B5EF4-FFF2-40B4-BE49-F238E27FC236}">
                  <a16:creationId xmlns:a16="http://schemas.microsoft.com/office/drawing/2014/main" id="{BF2BC28A-EBFA-443A-9097-29ECEEB3845D}"/>
                </a:ext>
              </a:extLst>
            </p:cNvPr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4698173" y="2667353"/>
              <a:ext cx="9748" cy="14622"/>
            </a:xfrm>
            <a:custGeom>
              <a:avLst/>
              <a:gdLst/>
              <a:ahLst/>
              <a:cxnLst>
                <a:cxn ang="0">
                  <a:pos x="24" y="7"/>
                </a:cxn>
                <a:cxn ang="0">
                  <a:pos x="24" y="34"/>
                </a:cxn>
                <a:cxn ang="0">
                  <a:pos x="41" y="52"/>
                </a:cxn>
                <a:cxn ang="0">
                  <a:pos x="0" y="59"/>
                </a:cxn>
                <a:cxn ang="0">
                  <a:pos x="10" y="0"/>
                </a:cxn>
                <a:cxn ang="0">
                  <a:pos x="24" y="7"/>
                </a:cxn>
              </a:cxnLst>
              <a:rect l="0" t="0" r="r" b="b"/>
              <a:pathLst>
                <a:path w="41" h="59">
                  <a:moveTo>
                    <a:pt x="24" y="7"/>
                  </a:moveTo>
                  <a:lnTo>
                    <a:pt x="24" y="34"/>
                  </a:lnTo>
                  <a:lnTo>
                    <a:pt x="41" y="52"/>
                  </a:lnTo>
                  <a:lnTo>
                    <a:pt x="0" y="59"/>
                  </a:lnTo>
                  <a:lnTo>
                    <a:pt x="10" y="0"/>
                  </a:lnTo>
                  <a:lnTo>
                    <a:pt x="24" y="7"/>
                  </a:lnTo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6" name="Freeform 101">
              <a:extLst>
                <a:ext uri="{FF2B5EF4-FFF2-40B4-BE49-F238E27FC236}">
                  <a16:creationId xmlns:a16="http://schemas.microsoft.com/office/drawing/2014/main" id="{056922B4-07A8-4D9C-A31A-81A3AB84528E}"/>
                </a:ext>
              </a:extLst>
            </p:cNvPr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4294846" y="2585714"/>
              <a:ext cx="13403" cy="9748"/>
            </a:xfrm>
            <a:custGeom>
              <a:avLst/>
              <a:gdLst/>
              <a:ahLst/>
              <a:cxnLst>
                <a:cxn ang="0">
                  <a:pos x="41" y="0"/>
                </a:cxn>
                <a:cxn ang="0">
                  <a:pos x="55" y="27"/>
                </a:cxn>
                <a:cxn ang="0">
                  <a:pos x="44" y="38"/>
                </a:cxn>
                <a:cxn ang="0">
                  <a:pos x="0" y="0"/>
                </a:cxn>
                <a:cxn ang="0">
                  <a:pos x="41" y="0"/>
                </a:cxn>
              </a:cxnLst>
              <a:rect l="0" t="0" r="r" b="b"/>
              <a:pathLst>
                <a:path w="55" h="38">
                  <a:moveTo>
                    <a:pt x="41" y="0"/>
                  </a:moveTo>
                  <a:lnTo>
                    <a:pt x="55" y="27"/>
                  </a:lnTo>
                  <a:lnTo>
                    <a:pt x="44" y="38"/>
                  </a:lnTo>
                  <a:lnTo>
                    <a:pt x="0" y="0"/>
                  </a:lnTo>
                  <a:lnTo>
                    <a:pt x="41" y="0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7" name="Freeform 102">
              <a:extLst>
                <a:ext uri="{FF2B5EF4-FFF2-40B4-BE49-F238E27FC236}">
                  <a16:creationId xmlns:a16="http://schemas.microsoft.com/office/drawing/2014/main" id="{9E6C45B2-265B-4652-B3D1-70873024A2CE}"/>
                </a:ext>
              </a:extLst>
            </p:cNvPr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4294846" y="2585714"/>
              <a:ext cx="13403" cy="9748"/>
            </a:xfrm>
            <a:custGeom>
              <a:avLst/>
              <a:gdLst/>
              <a:ahLst/>
              <a:cxnLst>
                <a:cxn ang="0">
                  <a:pos x="41" y="0"/>
                </a:cxn>
                <a:cxn ang="0">
                  <a:pos x="55" y="27"/>
                </a:cxn>
                <a:cxn ang="0">
                  <a:pos x="44" y="38"/>
                </a:cxn>
                <a:cxn ang="0">
                  <a:pos x="0" y="0"/>
                </a:cxn>
                <a:cxn ang="0">
                  <a:pos x="41" y="0"/>
                </a:cxn>
              </a:cxnLst>
              <a:rect l="0" t="0" r="r" b="b"/>
              <a:pathLst>
                <a:path w="55" h="38">
                  <a:moveTo>
                    <a:pt x="41" y="0"/>
                  </a:moveTo>
                  <a:lnTo>
                    <a:pt x="55" y="27"/>
                  </a:lnTo>
                  <a:lnTo>
                    <a:pt x="44" y="38"/>
                  </a:lnTo>
                  <a:lnTo>
                    <a:pt x="0" y="0"/>
                  </a:lnTo>
                  <a:lnTo>
                    <a:pt x="41" y="0"/>
                  </a:lnTo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8" name="Freeform 103">
              <a:extLst>
                <a:ext uri="{FF2B5EF4-FFF2-40B4-BE49-F238E27FC236}">
                  <a16:creationId xmlns:a16="http://schemas.microsoft.com/office/drawing/2014/main" id="{21B04839-0D4C-4DC8-9D59-4C59900A53BA}"/>
                </a:ext>
              </a:extLst>
            </p:cNvPr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4763973" y="2982947"/>
              <a:ext cx="15841" cy="25589"/>
            </a:xfrm>
            <a:custGeom>
              <a:avLst/>
              <a:gdLst/>
              <a:ahLst/>
              <a:cxnLst>
                <a:cxn ang="0">
                  <a:pos x="38" y="4"/>
                </a:cxn>
                <a:cxn ang="0">
                  <a:pos x="59" y="0"/>
                </a:cxn>
                <a:cxn ang="0">
                  <a:pos x="59" y="21"/>
                </a:cxn>
                <a:cxn ang="0">
                  <a:pos x="49" y="31"/>
                </a:cxn>
                <a:cxn ang="0">
                  <a:pos x="38" y="83"/>
                </a:cxn>
                <a:cxn ang="0">
                  <a:pos x="0" y="103"/>
                </a:cxn>
                <a:cxn ang="0">
                  <a:pos x="7" y="65"/>
                </a:cxn>
                <a:cxn ang="0">
                  <a:pos x="32" y="24"/>
                </a:cxn>
                <a:cxn ang="0">
                  <a:pos x="32" y="17"/>
                </a:cxn>
                <a:cxn ang="0">
                  <a:pos x="38" y="4"/>
                </a:cxn>
              </a:cxnLst>
              <a:rect l="0" t="0" r="r" b="b"/>
              <a:pathLst>
                <a:path w="59" h="103">
                  <a:moveTo>
                    <a:pt x="38" y="4"/>
                  </a:moveTo>
                  <a:lnTo>
                    <a:pt x="59" y="0"/>
                  </a:lnTo>
                  <a:lnTo>
                    <a:pt x="59" y="21"/>
                  </a:lnTo>
                  <a:lnTo>
                    <a:pt x="49" y="31"/>
                  </a:lnTo>
                  <a:lnTo>
                    <a:pt x="38" y="83"/>
                  </a:lnTo>
                  <a:lnTo>
                    <a:pt x="0" y="103"/>
                  </a:lnTo>
                  <a:lnTo>
                    <a:pt x="7" y="65"/>
                  </a:lnTo>
                  <a:lnTo>
                    <a:pt x="32" y="24"/>
                  </a:lnTo>
                  <a:lnTo>
                    <a:pt x="32" y="17"/>
                  </a:lnTo>
                  <a:lnTo>
                    <a:pt x="38" y="4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9" name="Freeform 105">
              <a:extLst>
                <a:ext uri="{FF2B5EF4-FFF2-40B4-BE49-F238E27FC236}">
                  <a16:creationId xmlns:a16="http://schemas.microsoft.com/office/drawing/2014/main" id="{8C1B2D0F-6541-43AE-86C4-E138EC8643EC}"/>
                </a:ext>
              </a:extLst>
            </p:cNvPr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4726200" y="3305853"/>
              <a:ext cx="36556" cy="32900"/>
            </a:xfrm>
            <a:custGeom>
              <a:avLst/>
              <a:gdLst/>
              <a:ahLst/>
              <a:cxnLst>
                <a:cxn ang="0">
                  <a:pos x="0" y="132"/>
                </a:cxn>
                <a:cxn ang="0">
                  <a:pos x="75" y="108"/>
                </a:cxn>
                <a:cxn ang="0">
                  <a:pos x="148" y="16"/>
                </a:cxn>
                <a:cxn ang="0">
                  <a:pos x="146" y="0"/>
                </a:cxn>
                <a:cxn ang="0">
                  <a:pos x="86" y="7"/>
                </a:cxn>
                <a:cxn ang="0">
                  <a:pos x="22" y="47"/>
                </a:cxn>
                <a:cxn ang="0">
                  <a:pos x="0" y="132"/>
                </a:cxn>
              </a:cxnLst>
              <a:rect l="0" t="0" r="r" b="b"/>
              <a:pathLst>
                <a:path w="148" h="132">
                  <a:moveTo>
                    <a:pt x="0" y="132"/>
                  </a:moveTo>
                  <a:lnTo>
                    <a:pt x="75" y="108"/>
                  </a:lnTo>
                  <a:lnTo>
                    <a:pt x="148" y="16"/>
                  </a:lnTo>
                  <a:lnTo>
                    <a:pt x="146" y="0"/>
                  </a:lnTo>
                  <a:lnTo>
                    <a:pt x="86" y="7"/>
                  </a:lnTo>
                  <a:lnTo>
                    <a:pt x="22" y="47"/>
                  </a:lnTo>
                  <a:lnTo>
                    <a:pt x="0" y="132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0" name="Freeform 107">
              <a:extLst>
                <a:ext uri="{FF2B5EF4-FFF2-40B4-BE49-F238E27FC236}">
                  <a16:creationId xmlns:a16="http://schemas.microsoft.com/office/drawing/2014/main" id="{527DFBF6-7B00-4225-A484-AA4F42AC3350}"/>
                </a:ext>
              </a:extLst>
            </p:cNvPr>
            <p:cNvSpPr>
              <a:spLocks/>
            </p:cNvSpPr>
            <p:nvPr>
              <p:custDataLst>
                <p:tags r:id="rId69"/>
              </p:custDataLst>
            </p:nvPr>
          </p:nvSpPr>
          <p:spPr bwMode="auto">
            <a:xfrm>
              <a:off x="4807839" y="3316820"/>
              <a:ext cx="21933" cy="41429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10" y="127"/>
                </a:cxn>
                <a:cxn ang="0">
                  <a:pos x="56" y="170"/>
                </a:cxn>
                <a:cxn ang="0">
                  <a:pos x="81" y="82"/>
                </a:cxn>
                <a:cxn ang="0">
                  <a:pos x="76" y="0"/>
                </a:cxn>
                <a:cxn ang="0">
                  <a:pos x="0" y="12"/>
                </a:cxn>
              </a:cxnLst>
              <a:rect l="0" t="0" r="r" b="b"/>
              <a:pathLst>
                <a:path w="81" h="170">
                  <a:moveTo>
                    <a:pt x="0" y="12"/>
                  </a:moveTo>
                  <a:lnTo>
                    <a:pt x="10" y="127"/>
                  </a:lnTo>
                  <a:lnTo>
                    <a:pt x="56" y="170"/>
                  </a:lnTo>
                  <a:lnTo>
                    <a:pt x="81" y="82"/>
                  </a:lnTo>
                  <a:lnTo>
                    <a:pt x="76" y="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1" name="Freeform 109">
              <a:extLst>
                <a:ext uri="{FF2B5EF4-FFF2-40B4-BE49-F238E27FC236}">
                  <a16:creationId xmlns:a16="http://schemas.microsoft.com/office/drawing/2014/main" id="{37E20ED5-ADD2-431B-B8B5-596C88DB9D63}"/>
                </a:ext>
              </a:extLst>
            </p:cNvPr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4639685" y="3153539"/>
              <a:ext cx="152314" cy="140128"/>
            </a:xfrm>
            <a:custGeom>
              <a:avLst/>
              <a:gdLst/>
              <a:ahLst/>
              <a:cxnLst>
                <a:cxn ang="0">
                  <a:pos x="0" y="486"/>
                </a:cxn>
                <a:cxn ang="0">
                  <a:pos x="117" y="479"/>
                </a:cxn>
                <a:cxn ang="0">
                  <a:pos x="131" y="576"/>
                </a:cxn>
                <a:cxn ang="0">
                  <a:pos x="211" y="554"/>
                </a:cxn>
                <a:cxn ang="0">
                  <a:pos x="307" y="397"/>
                </a:cxn>
                <a:cxn ang="0">
                  <a:pos x="372" y="390"/>
                </a:cxn>
                <a:cxn ang="0">
                  <a:pos x="450" y="430"/>
                </a:cxn>
                <a:cxn ang="0">
                  <a:pos x="532" y="486"/>
                </a:cxn>
                <a:cxn ang="0">
                  <a:pos x="599" y="393"/>
                </a:cxn>
                <a:cxn ang="0">
                  <a:pos x="506" y="357"/>
                </a:cxn>
                <a:cxn ang="0">
                  <a:pos x="453" y="281"/>
                </a:cxn>
                <a:cxn ang="0">
                  <a:pos x="382" y="224"/>
                </a:cxn>
                <a:cxn ang="0">
                  <a:pos x="277" y="169"/>
                </a:cxn>
                <a:cxn ang="0">
                  <a:pos x="187" y="96"/>
                </a:cxn>
                <a:cxn ang="0">
                  <a:pos x="153" y="0"/>
                </a:cxn>
                <a:cxn ang="0">
                  <a:pos x="78" y="87"/>
                </a:cxn>
                <a:cxn ang="0">
                  <a:pos x="63" y="170"/>
                </a:cxn>
                <a:cxn ang="0">
                  <a:pos x="55" y="286"/>
                </a:cxn>
                <a:cxn ang="0">
                  <a:pos x="83" y="398"/>
                </a:cxn>
                <a:cxn ang="0">
                  <a:pos x="0" y="486"/>
                </a:cxn>
              </a:cxnLst>
              <a:rect l="0" t="0" r="r" b="b"/>
              <a:pathLst>
                <a:path w="599" h="576">
                  <a:moveTo>
                    <a:pt x="0" y="486"/>
                  </a:moveTo>
                  <a:lnTo>
                    <a:pt x="117" y="479"/>
                  </a:lnTo>
                  <a:lnTo>
                    <a:pt x="131" y="576"/>
                  </a:lnTo>
                  <a:lnTo>
                    <a:pt x="211" y="554"/>
                  </a:lnTo>
                  <a:lnTo>
                    <a:pt x="307" y="397"/>
                  </a:lnTo>
                  <a:lnTo>
                    <a:pt x="372" y="390"/>
                  </a:lnTo>
                  <a:lnTo>
                    <a:pt x="450" y="430"/>
                  </a:lnTo>
                  <a:lnTo>
                    <a:pt x="532" y="486"/>
                  </a:lnTo>
                  <a:lnTo>
                    <a:pt x="599" y="393"/>
                  </a:lnTo>
                  <a:lnTo>
                    <a:pt x="506" y="357"/>
                  </a:lnTo>
                  <a:lnTo>
                    <a:pt x="453" y="281"/>
                  </a:lnTo>
                  <a:lnTo>
                    <a:pt x="382" y="224"/>
                  </a:lnTo>
                  <a:lnTo>
                    <a:pt x="277" y="169"/>
                  </a:lnTo>
                  <a:lnTo>
                    <a:pt x="187" y="96"/>
                  </a:lnTo>
                  <a:lnTo>
                    <a:pt x="153" y="0"/>
                  </a:lnTo>
                  <a:lnTo>
                    <a:pt x="78" y="87"/>
                  </a:lnTo>
                  <a:lnTo>
                    <a:pt x="63" y="170"/>
                  </a:lnTo>
                  <a:lnTo>
                    <a:pt x="55" y="286"/>
                  </a:lnTo>
                  <a:lnTo>
                    <a:pt x="83" y="398"/>
                  </a:lnTo>
                  <a:lnTo>
                    <a:pt x="0" y="486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2" name="Freeform 111">
              <a:extLst>
                <a:ext uri="{FF2B5EF4-FFF2-40B4-BE49-F238E27FC236}">
                  <a16:creationId xmlns:a16="http://schemas.microsoft.com/office/drawing/2014/main" id="{65CECD7C-C117-4CB5-B6C5-2F33E2D2EB87}"/>
                </a:ext>
              </a:extLst>
            </p:cNvPr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4576322" y="2778238"/>
              <a:ext cx="570263" cy="484967"/>
            </a:xfrm>
            <a:custGeom>
              <a:avLst/>
              <a:gdLst/>
              <a:ahLst/>
              <a:cxnLst>
                <a:cxn ang="0">
                  <a:pos x="64" y="524"/>
                </a:cxn>
                <a:cxn ang="0">
                  <a:pos x="177" y="701"/>
                </a:cxn>
                <a:cxn ang="0">
                  <a:pos x="381" y="753"/>
                </a:cxn>
                <a:cxn ang="0">
                  <a:pos x="584" y="746"/>
                </a:cxn>
                <a:cxn ang="0">
                  <a:pos x="749" y="768"/>
                </a:cxn>
                <a:cxn ang="0">
                  <a:pos x="847" y="733"/>
                </a:cxn>
                <a:cxn ang="0">
                  <a:pos x="987" y="938"/>
                </a:cxn>
                <a:cxn ang="0">
                  <a:pos x="1130" y="937"/>
                </a:cxn>
                <a:cxn ang="0">
                  <a:pos x="1285" y="1065"/>
                </a:cxn>
                <a:cxn ang="0">
                  <a:pos x="1301" y="1214"/>
                </a:cxn>
                <a:cxn ang="0">
                  <a:pos x="1219" y="1390"/>
                </a:cxn>
                <a:cxn ang="0">
                  <a:pos x="1253" y="1551"/>
                </a:cxn>
                <a:cxn ang="0">
                  <a:pos x="1018" y="1571"/>
                </a:cxn>
                <a:cxn ang="0">
                  <a:pos x="973" y="1664"/>
                </a:cxn>
                <a:cxn ang="0">
                  <a:pos x="1025" y="1821"/>
                </a:cxn>
                <a:cxn ang="0">
                  <a:pos x="1203" y="1733"/>
                </a:cxn>
                <a:cxn ang="0">
                  <a:pos x="1392" y="1754"/>
                </a:cxn>
                <a:cxn ang="0">
                  <a:pos x="1561" y="1793"/>
                </a:cxn>
                <a:cxn ang="0">
                  <a:pos x="1674" y="1915"/>
                </a:cxn>
                <a:cxn ang="0">
                  <a:pos x="1845" y="1930"/>
                </a:cxn>
                <a:cxn ang="0">
                  <a:pos x="1985" y="1986"/>
                </a:cxn>
                <a:cxn ang="0">
                  <a:pos x="2169" y="1971"/>
                </a:cxn>
                <a:cxn ang="0">
                  <a:pos x="2051" y="1856"/>
                </a:cxn>
                <a:cxn ang="0">
                  <a:pos x="1866" y="1764"/>
                </a:cxn>
                <a:cxn ang="0">
                  <a:pos x="1918" y="1710"/>
                </a:cxn>
                <a:cxn ang="0">
                  <a:pos x="2131" y="1770"/>
                </a:cxn>
                <a:cxn ang="0">
                  <a:pos x="2204" y="1596"/>
                </a:cxn>
                <a:cxn ang="0">
                  <a:pos x="2066" y="1455"/>
                </a:cxn>
                <a:cxn ang="0">
                  <a:pos x="1875" y="1372"/>
                </a:cxn>
                <a:cxn ang="0">
                  <a:pos x="1767" y="1165"/>
                </a:cxn>
                <a:cxn ang="0">
                  <a:pos x="2009" y="1299"/>
                </a:cxn>
                <a:cxn ang="0">
                  <a:pos x="2109" y="1219"/>
                </a:cxn>
                <a:cxn ang="0">
                  <a:pos x="2164" y="1063"/>
                </a:cxn>
                <a:cxn ang="0">
                  <a:pos x="2079" y="901"/>
                </a:cxn>
                <a:cxn ang="0">
                  <a:pos x="1784" y="798"/>
                </a:cxn>
                <a:cxn ang="0">
                  <a:pos x="1555" y="802"/>
                </a:cxn>
                <a:cxn ang="0">
                  <a:pos x="1596" y="644"/>
                </a:cxn>
                <a:cxn ang="0">
                  <a:pos x="1488" y="509"/>
                </a:cxn>
                <a:cxn ang="0">
                  <a:pos x="1291" y="405"/>
                </a:cxn>
                <a:cxn ang="0">
                  <a:pos x="1079" y="301"/>
                </a:cxn>
                <a:cxn ang="0">
                  <a:pos x="954" y="216"/>
                </a:cxn>
                <a:cxn ang="0">
                  <a:pos x="840" y="195"/>
                </a:cxn>
                <a:cxn ang="0">
                  <a:pos x="707" y="163"/>
                </a:cxn>
                <a:cxn ang="0">
                  <a:pos x="583" y="254"/>
                </a:cxn>
                <a:cxn ang="0">
                  <a:pos x="538" y="221"/>
                </a:cxn>
                <a:cxn ang="0">
                  <a:pos x="492" y="45"/>
                </a:cxn>
                <a:cxn ang="0">
                  <a:pos x="391" y="25"/>
                </a:cxn>
                <a:cxn ang="0">
                  <a:pos x="260" y="187"/>
                </a:cxn>
                <a:cxn ang="0">
                  <a:pos x="290" y="447"/>
                </a:cxn>
                <a:cxn ang="0">
                  <a:pos x="204" y="223"/>
                </a:cxn>
                <a:cxn ang="0">
                  <a:pos x="253" y="82"/>
                </a:cxn>
                <a:cxn ang="0">
                  <a:pos x="253" y="23"/>
                </a:cxn>
                <a:cxn ang="0">
                  <a:pos x="112" y="79"/>
                </a:cxn>
                <a:cxn ang="0">
                  <a:pos x="25" y="246"/>
                </a:cxn>
                <a:cxn ang="0">
                  <a:pos x="0" y="442"/>
                </a:cxn>
              </a:cxnLst>
              <a:rect l="0" t="0" r="r" b="b"/>
              <a:pathLst>
                <a:path w="2236" h="1989">
                  <a:moveTo>
                    <a:pt x="0" y="442"/>
                  </a:moveTo>
                  <a:lnTo>
                    <a:pt x="64" y="524"/>
                  </a:lnTo>
                  <a:lnTo>
                    <a:pt x="113" y="621"/>
                  </a:lnTo>
                  <a:lnTo>
                    <a:pt x="177" y="701"/>
                  </a:lnTo>
                  <a:lnTo>
                    <a:pt x="286" y="761"/>
                  </a:lnTo>
                  <a:lnTo>
                    <a:pt x="381" y="753"/>
                  </a:lnTo>
                  <a:lnTo>
                    <a:pt x="519" y="770"/>
                  </a:lnTo>
                  <a:lnTo>
                    <a:pt x="584" y="746"/>
                  </a:lnTo>
                  <a:lnTo>
                    <a:pt x="699" y="810"/>
                  </a:lnTo>
                  <a:lnTo>
                    <a:pt x="749" y="768"/>
                  </a:lnTo>
                  <a:lnTo>
                    <a:pt x="792" y="660"/>
                  </a:lnTo>
                  <a:lnTo>
                    <a:pt x="847" y="733"/>
                  </a:lnTo>
                  <a:lnTo>
                    <a:pt x="981" y="804"/>
                  </a:lnTo>
                  <a:lnTo>
                    <a:pt x="987" y="938"/>
                  </a:lnTo>
                  <a:lnTo>
                    <a:pt x="1053" y="855"/>
                  </a:lnTo>
                  <a:lnTo>
                    <a:pt x="1130" y="937"/>
                  </a:lnTo>
                  <a:lnTo>
                    <a:pt x="1234" y="977"/>
                  </a:lnTo>
                  <a:lnTo>
                    <a:pt x="1285" y="1065"/>
                  </a:lnTo>
                  <a:lnTo>
                    <a:pt x="1333" y="1137"/>
                  </a:lnTo>
                  <a:lnTo>
                    <a:pt x="1301" y="1214"/>
                  </a:lnTo>
                  <a:lnTo>
                    <a:pt x="1267" y="1309"/>
                  </a:lnTo>
                  <a:lnTo>
                    <a:pt x="1219" y="1390"/>
                  </a:lnTo>
                  <a:lnTo>
                    <a:pt x="1315" y="1467"/>
                  </a:lnTo>
                  <a:lnTo>
                    <a:pt x="1253" y="1551"/>
                  </a:lnTo>
                  <a:lnTo>
                    <a:pt x="1146" y="1577"/>
                  </a:lnTo>
                  <a:lnTo>
                    <a:pt x="1018" y="1571"/>
                  </a:lnTo>
                  <a:lnTo>
                    <a:pt x="1018" y="1638"/>
                  </a:lnTo>
                  <a:lnTo>
                    <a:pt x="973" y="1664"/>
                  </a:lnTo>
                  <a:lnTo>
                    <a:pt x="961" y="1749"/>
                  </a:lnTo>
                  <a:lnTo>
                    <a:pt x="1025" y="1821"/>
                  </a:lnTo>
                  <a:lnTo>
                    <a:pt x="1151" y="1795"/>
                  </a:lnTo>
                  <a:lnTo>
                    <a:pt x="1203" y="1733"/>
                  </a:lnTo>
                  <a:lnTo>
                    <a:pt x="1297" y="1727"/>
                  </a:lnTo>
                  <a:lnTo>
                    <a:pt x="1392" y="1754"/>
                  </a:lnTo>
                  <a:lnTo>
                    <a:pt x="1477" y="1765"/>
                  </a:lnTo>
                  <a:lnTo>
                    <a:pt x="1561" y="1793"/>
                  </a:lnTo>
                  <a:lnTo>
                    <a:pt x="1583" y="1873"/>
                  </a:lnTo>
                  <a:lnTo>
                    <a:pt x="1674" y="1915"/>
                  </a:lnTo>
                  <a:lnTo>
                    <a:pt x="1748" y="1926"/>
                  </a:lnTo>
                  <a:lnTo>
                    <a:pt x="1845" y="1930"/>
                  </a:lnTo>
                  <a:lnTo>
                    <a:pt x="1889" y="1967"/>
                  </a:lnTo>
                  <a:lnTo>
                    <a:pt x="1985" y="1986"/>
                  </a:lnTo>
                  <a:lnTo>
                    <a:pt x="2076" y="1989"/>
                  </a:lnTo>
                  <a:lnTo>
                    <a:pt x="2169" y="1971"/>
                  </a:lnTo>
                  <a:lnTo>
                    <a:pt x="2139" y="1894"/>
                  </a:lnTo>
                  <a:lnTo>
                    <a:pt x="2051" y="1856"/>
                  </a:lnTo>
                  <a:lnTo>
                    <a:pt x="1952" y="1804"/>
                  </a:lnTo>
                  <a:lnTo>
                    <a:pt x="1866" y="1764"/>
                  </a:lnTo>
                  <a:lnTo>
                    <a:pt x="1805" y="1698"/>
                  </a:lnTo>
                  <a:lnTo>
                    <a:pt x="1918" y="1710"/>
                  </a:lnTo>
                  <a:lnTo>
                    <a:pt x="2016" y="1745"/>
                  </a:lnTo>
                  <a:lnTo>
                    <a:pt x="2131" y="1770"/>
                  </a:lnTo>
                  <a:lnTo>
                    <a:pt x="2236" y="1727"/>
                  </a:lnTo>
                  <a:lnTo>
                    <a:pt x="2204" y="1596"/>
                  </a:lnTo>
                  <a:lnTo>
                    <a:pt x="2112" y="1545"/>
                  </a:lnTo>
                  <a:lnTo>
                    <a:pt x="2066" y="1455"/>
                  </a:lnTo>
                  <a:lnTo>
                    <a:pt x="1989" y="1415"/>
                  </a:lnTo>
                  <a:lnTo>
                    <a:pt x="1875" y="1372"/>
                  </a:lnTo>
                  <a:lnTo>
                    <a:pt x="1795" y="1295"/>
                  </a:lnTo>
                  <a:lnTo>
                    <a:pt x="1767" y="1165"/>
                  </a:lnTo>
                  <a:lnTo>
                    <a:pt x="1927" y="1207"/>
                  </a:lnTo>
                  <a:lnTo>
                    <a:pt x="2009" y="1299"/>
                  </a:lnTo>
                  <a:lnTo>
                    <a:pt x="2124" y="1321"/>
                  </a:lnTo>
                  <a:lnTo>
                    <a:pt x="2109" y="1219"/>
                  </a:lnTo>
                  <a:lnTo>
                    <a:pt x="2182" y="1147"/>
                  </a:lnTo>
                  <a:lnTo>
                    <a:pt x="2164" y="1063"/>
                  </a:lnTo>
                  <a:lnTo>
                    <a:pt x="2160" y="935"/>
                  </a:lnTo>
                  <a:lnTo>
                    <a:pt x="2079" y="901"/>
                  </a:lnTo>
                  <a:lnTo>
                    <a:pt x="1879" y="847"/>
                  </a:lnTo>
                  <a:lnTo>
                    <a:pt x="1784" y="798"/>
                  </a:lnTo>
                  <a:lnTo>
                    <a:pt x="1676" y="844"/>
                  </a:lnTo>
                  <a:lnTo>
                    <a:pt x="1555" y="802"/>
                  </a:lnTo>
                  <a:lnTo>
                    <a:pt x="1521" y="709"/>
                  </a:lnTo>
                  <a:lnTo>
                    <a:pt x="1596" y="644"/>
                  </a:lnTo>
                  <a:lnTo>
                    <a:pt x="1490" y="597"/>
                  </a:lnTo>
                  <a:lnTo>
                    <a:pt x="1488" y="509"/>
                  </a:lnTo>
                  <a:lnTo>
                    <a:pt x="1401" y="436"/>
                  </a:lnTo>
                  <a:lnTo>
                    <a:pt x="1291" y="405"/>
                  </a:lnTo>
                  <a:lnTo>
                    <a:pt x="1163" y="327"/>
                  </a:lnTo>
                  <a:lnTo>
                    <a:pt x="1079" y="301"/>
                  </a:lnTo>
                  <a:lnTo>
                    <a:pt x="980" y="312"/>
                  </a:lnTo>
                  <a:lnTo>
                    <a:pt x="954" y="216"/>
                  </a:lnTo>
                  <a:lnTo>
                    <a:pt x="917" y="158"/>
                  </a:lnTo>
                  <a:lnTo>
                    <a:pt x="840" y="195"/>
                  </a:lnTo>
                  <a:lnTo>
                    <a:pt x="769" y="171"/>
                  </a:lnTo>
                  <a:lnTo>
                    <a:pt x="707" y="163"/>
                  </a:lnTo>
                  <a:lnTo>
                    <a:pt x="652" y="242"/>
                  </a:lnTo>
                  <a:lnTo>
                    <a:pt x="583" y="254"/>
                  </a:lnTo>
                  <a:lnTo>
                    <a:pt x="533" y="321"/>
                  </a:lnTo>
                  <a:lnTo>
                    <a:pt x="538" y="221"/>
                  </a:lnTo>
                  <a:lnTo>
                    <a:pt x="487" y="135"/>
                  </a:lnTo>
                  <a:lnTo>
                    <a:pt x="492" y="45"/>
                  </a:lnTo>
                  <a:lnTo>
                    <a:pt x="458" y="0"/>
                  </a:lnTo>
                  <a:lnTo>
                    <a:pt x="391" y="25"/>
                  </a:lnTo>
                  <a:lnTo>
                    <a:pt x="320" y="100"/>
                  </a:lnTo>
                  <a:lnTo>
                    <a:pt x="260" y="187"/>
                  </a:lnTo>
                  <a:lnTo>
                    <a:pt x="263" y="368"/>
                  </a:lnTo>
                  <a:lnTo>
                    <a:pt x="290" y="447"/>
                  </a:lnTo>
                  <a:lnTo>
                    <a:pt x="223" y="386"/>
                  </a:lnTo>
                  <a:lnTo>
                    <a:pt x="204" y="223"/>
                  </a:lnTo>
                  <a:lnTo>
                    <a:pt x="223" y="140"/>
                  </a:lnTo>
                  <a:lnTo>
                    <a:pt x="253" y="82"/>
                  </a:lnTo>
                  <a:lnTo>
                    <a:pt x="330" y="22"/>
                  </a:lnTo>
                  <a:lnTo>
                    <a:pt x="253" y="23"/>
                  </a:lnTo>
                  <a:lnTo>
                    <a:pt x="165" y="28"/>
                  </a:lnTo>
                  <a:lnTo>
                    <a:pt x="112" y="79"/>
                  </a:lnTo>
                  <a:lnTo>
                    <a:pt x="53" y="163"/>
                  </a:lnTo>
                  <a:lnTo>
                    <a:pt x="25" y="246"/>
                  </a:lnTo>
                  <a:lnTo>
                    <a:pt x="0" y="328"/>
                  </a:lnTo>
                  <a:lnTo>
                    <a:pt x="0" y="442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3" name="Freeform 113">
              <a:extLst>
                <a:ext uri="{FF2B5EF4-FFF2-40B4-BE49-F238E27FC236}">
                  <a16:creationId xmlns:a16="http://schemas.microsoft.com/office/drawing/2014/main" id="{64FC5096-F16B-49FF-BE8B-418A1B9EA14C}"/>
                </a:ext>
              </a:extLst>
            </p:cNvPr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4707921" y="2772145"/>
              <a:ext cx="65799" cy="47522"/>
            </a:xfrm>
            <a:custGeom>
              <a:avLst/>
              <a:gdLst/>
              <a:ahLst/>
              <a:cxnLst>
                <a:cxn ang="0">
                  <a:pos x="8" y="33"/>
                </a:cxn>
                <a:cxn ang="0">
                  <a:pos x="0" y="101"/>
                </a:cxn>
                <a:cxn ang="0">
                  <a:pos x="32" y="182"/>
                </a:cxn>
                <a:cxn ang="0">
                  <a:pos x="114" y="198"/>
                </a:cxn>
                <a:cxn ang="0">
                  <a:pos x="164" y="158"/>
                </a:cxn>
                <a:cxn ang="0">
                  <a:pos x="259" y="161"/>
                </a:cxn>
                <a:cxn ang="0">
                  <a:pos x="256" y="102"/>
                </a:cxn>
                <a:cxn ang="0">
                  <a:pos x="218" y="26"/>
                </a:cxn>
                <a:cxn ang="0">
                  <a:pos x="151" y="0"/>
                </a:cxn>
                <a:cxn ang="0">
                  <a:pos x="74" y="6"/>
                </a:cxn>
                <a:cxn ang="0">
                  <a:pos x="8" y="33"/>
                </a:cxn>
              </a:cxnLst>
              <a:rect l="0" t="0" r="r" b="b"/>
              <a:pathLst>
                <a:path w="259" h="198">
                  <a:moveTo>
                    <a:pt x="8" y="33"/>
                  </a:moveTo>
                  <a:lnTo>
                    <a:pt x="0" y="101"/>
                  </a:lnTo>
                  <a:lnTo>
                    <a:pt x="32" y="182"/>
                  </a:lnTo>
                  <a:lnTo>
                    <a:pt x="114" y="198"/>
                  </a:lnTo>
                  <a:lnTo>
                    <a:pt x="164" y="158"/>
                  </a:lnTo>
                  <a:lnTo>
                    <a:pt x="259" y="161"/>
                  </a:lnTo>
                  <a:lnTo>
                    <a:pt x="256" y="102"/>
                  </a:lnTo>
                  <a:lnTo>
                    <a:pt x="218" y="26"/>
                  </a:lnTo>
                  <a:lnTo>
                    <a:pt x="151" y="0"/>
                  </a:lnTo>
                  <a:lnTo>
                    <a:pt x="74" y="6"/>
                  </a:lnTo>
                  <a:lnTo>
                    <a:pt x="8" y="33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4" name="Freeform 114">
              <a:extLst>
                <a:ext uri="{FF2B5EF4-FFF2-40B4-BE49-F238E27FC236}">
                  <a16:creationId xmlns:a16="http://schemas.microsoft.com/office/drawing/2014/main" id="{62763D17-3C55-4E7B-BEFD-6D9CB050CB52}"/>
                </a:ext>
              </a:extLst>
            </p:cNvPr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4707921" y="2772145"/>
              <a:ext cx="65799" cy="47522"/>
            </a:xfrm>
            <a:custGeom>
              <a:avLst/>
              <a:gdLst/>
              <a:ahLst/>
              <a:cxnLst>
                <a:cxn ang="0">
                  <a:pos x="8" y="33"/>
                </a:cxn>
                <a:cxn ang="0">
                  <a:pos x="0" y="101"/>
                </a:cxn>
                <a:cxn ang="0">
                  <a:pos x="32" y="182"/>
                </a:cxn>
                <a:cxn ang="0">
                  <a:pos x="114" y="198"/>
                </a:cxn>
                <a:cxn ang="0">
                  <a:pos x="164" y="158"/>
                </a:cxn>
                <a:cxn ang="0">
                  <a:pos x="259" y="161"/>
                </a:cxn>
                <a:cxn ang="0">
                  <a:pos x="256" y="102"/>
                </a:cxn>
                <a:cxn ang="0">
                  <a:pos x="218" y="26"/>
                </a:cxn>
                <a:cxn ang="0">
                  <a:pos x="151" y="0"/>
                </a:cxn>
                <a:cxn ang="0">
                  <a:pos x="74" y="6"/>
                </a:cxn>
                <a:cxn ang="0">
                  <a:pos x="8" y="33"/>
                </a:cxn>
              </a:cxnLst>
              <a:rect l="0" t="0" r="r" b="b"/>
              <a:pathLst>
                <a:path w="259" h="198">
                  <a:moveTo>
                    <a:pt x="8" y="33"/>
                  </a:moveTo>
                  <a:lnTo>
                    <a:pt x="0" y="101"/>
                  </a:lnTo>
                  <a:lnTo>
                    <a:pt x="32" y="182"/>
                  </a:lnTo>
                  <a:lnTo>
                    <a:pt x="114" y="198"/>
                  </a:lnTo>
                  <a:lnTo>
                    <a:pt x="164" y="158"/>
                  </a:lnTo>
                  <a:lnTo>
                    <a:pt x="259" y="161"/>
                  </a:lnTo>
                  <a:lnTo>
                    <a:pt x="256" y="102"/>
                  </a:lnTo>
                  <a:lnTo>
                    <a:pt x="218" y="26"/>
                  </a:lnTo>
                  <a:lnTo>
                    <a:pt x="151" y="0"/>
                  </a:lnTo>
                  <a:lnTo>
                    <a:pt x="74" y="6"/>
                  </a:lnTo>
                  <a:lnTo>
                    <a:pt x="8" y="33"/>
                  </a:lnTo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5" name="Freeform 115">
              <a:extLst>
                <a:ext uri="{FF2B5EF4-FFF2-40B4-BE49-F238E27FC236}">
                  <a16:creationId xmlns:a16="http://schemas.microsoft.com/office/drawing/2014/main" id="{416FDB6E-1FA8-4C38-B8D1-11085A8FAEEA}"/>
                </a:ext>
              </a:extLst>
            </p:cNvPr>
            <p:cNvSpPr>
              <a:spLocks/>
            </p:cNvSpPr>
            <p:nvPr>
              <p:custDataLst>
                <p:tags r:id="rId74"/>
              </p:custDataLst>
            </p:nvPr>
          </p:nvSpPr>
          <p:spPr bwMode="auto">
            <a:xfrm>
              <a:off x="4491027" y="2700253"/>
              <a:ext cx="37774" cy="43866"/>
            </a:xfrm>
            <a:custGeom>
              <a:avLst/>
              <a:gdLst/>
              <a:ahLst/>
              <a:cxnLst>
                <a:cxn ang="0">
                  <a:pos x="0" y="103"/>
                </a:cxn>
                <a:cxn ang="0">
                  <a:pos x="60" y="145"/>
                </a:cxn>
                <a:cxn ang="0">
                  <a:pos x="140" y="181"/>
                </a:cxn>
                <a:cxn ang="0">
                  <a:pos x="147" y="76"/>
                </a:cxn>
                <a:cxn ang="0">
                  <a:pos x="114" y="5"/>
                </a:cxn>
                <a:cxn ang="0">
                  <a:pos x="57" y="0"/>
                </a:cxn>
                <a:cxn ang="0">
                  <a:pos x="0" y="103"/>
                </a:cxn>
              </a:cxnLst>
              <a:rect l="0" t="0" r="r" b="b"/>
              <a:pathLst>
                <a:path w="147" h="181">
                  <a:moveTo>
                    <a:pt x="0" y="103"/>
                  </a:moveTo>
                  <a:lnTo>
                    <a:pt x="60" y="145"/>
                  </a:lnTo>
                  <a:lnTo>
                    <a:pt x="140" y="181"/>
                  </a:lnTo>
                  <a:lnTo>
                    <a:pt x="147" y="76"/>
                  </a:lnTo>
                  <a:lnTo>
                    <a:pt x="114" y="5"/>
                  </a:lnTo>
                  <a:lnTo>
                    <a:pt x="57" y="0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6" name="Freeform 117">
              <a:extLst>
                <a:ext uri="{FF2B5EF4-FFF2-40B4-BE49-F238E27FC236}">
                  <a16:creationId xmlns:a16="http://schemas.microsoft.com/office/drawing/2014/main" id="{9AE345E4-32D3-45D8-B246-FEAA5C3D6DD7}"/>
                </a:ext>
              </a:extLst>
            </p:cNvPr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4504431" y="2628360"/>
              <a:ext cx="203491" cy="127944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0" y="71"/>
                </a:cxn>
                <a:cxn ang="0">
                  <a:pos x="45" y="158"/>
                </a:cxn>
                <a:cxn ang="0">
                  <a:pos x="133" y="148"/>
                </a:cxn>
                <a:cxn ang="0">
                  <a:pos x="181" y="200"/>
                </a:cxn>
                <a:cxn ang="0">
                  <a:pos x="194" y="282"/>
                </a:cxn>
                <a:cxn ang="0">
                  <a:pos x="175" y="363"/>
                </a:cxn>
                <a:cxn ang="0">
                  <a:pos x="180" y="462"/>
                </a:cxn>
                <a:cxn ang="0">
                  <a:pos x="284" y="507"/>
                </a:cxn>
                <a:cxn ang="0">
                  <a:pos x="381" y="518"/>
                </a:cxn>
                <a:cxn ang="0">
                  <a:pos x="470" y="524"/>
                </a:cxn>
                <a:cxn ang="0">
                  <a:pos x="563" y="517"/>
                </a:cxn>
                <a:cxn ang="0">
                  <a:pos x="613" y="446"/>
                </a:cxn>
                <a:cxn ang="0">
                  <a:pos x="698" y="486"/>
                </a:cxn>
                <a:cxn ang="0">
                  <a:pos x="783" y="441"/>
                </a:cxn>
                <a:cxn ang="0">
                  <a:pos x="799" y="354"/>
                </a:cxn>
                <a:cxn ang="0">
                  <a:pos x="786" y="280"/>
                </a:cxn>
                <a:cxn ang="0">
                  <a:pos x="693" y="244"/>
                </a:cxn>
                <a:cxn ang="0">
                  <a:pos x="621" y="254"/>
                </a:cxn>
                <a:cxn ang="0">
                  <a:pos x="534" y="243"/>
                </a:cxn>
                <a:cxn ang="0">
                  <a:pos x="444" y="296"/>
                </a:cxn>
                <a:cxn ang="0">
                  <a:pos x="345" y="276"/>
                </a:cxn>
                <a:cxn ang="0">
                  <a:pos x="276" y="221"/>
                </a:cxn>
                <a:cxn ang="0">
                  <a:pos x="300" y="185"/>
                </a:cxn>
                <a:cxn ang="0">
                  <a:pos x="249" y="146"/>
                </a:cxn>
                <a:cxn ang="0">
                  <a:pos x="227" y="90"/>
                </a:cxn>
                <a:cxn ang="0">
                  <a:pos x="147" y="86"/>
                </a:cxn>
                <a:cxn ang="0">
                  <a:pos x="91" y="30"/>
                </a:cxn>
                <a:cxn ang="0">
                  <a:pos x="11" y="0"/>
                </a:cxn>
              </a:cxnLst>
              <a:rect l="0" t="0" r="r" b="b"/>
              <a:pathLst>
                <a:path w="799" h="524">
                  <a:moveTo>
                    <a:pt x="11" y="0"/>
                  </a:moveTo>
                  <a:lnTo>
                    <a:pt x="0" y="71"/>
                  </a:lnTo>
                  <a:lnTo>
                    <a:pt x="45" y="158"/>
                  </a:lnTo>
                  <a:lnTo>
                    <a:pt x="133" y="148"/>
                  </a:lnTo>
                  <a:lnTo>
                    <a:pt x="181" y="200"/>
                  </a:lnTo>
                  <a:lnTo>
                    <a:pt x="194" y="282"/>
                  </a:lnTo>
                  <a:lnTo>
                    <a:pt x="175" y="363"/>
                  </a:lnTo>
                  <a:lnTo>
                    <a:pt x="180" y="462"/>
                  </a:lnTo>
                  <a:lnTo>
                    <a:pt x="284" y="507"/>
                  </a:lnTo>
                  <a:lnTo>
                    <a:pt x="381" y="518"/>
                  </a:lnTo>
                  <a:lnTo>
                    <a:pt x="470" y="524"/>
                  </a:lnTo>
                  <a:lnTo>
                    <a:pt x="563" y="517"/>
                  </a:lnTo>
                  <a:lnTo>
                    <a:pt x="613" y="446"/>
                  </a:lnTo>
                  <a:lnTo>
                    <a:pt x="698" y="486"/>
                  </a:lnTo>
                  <a:lnTo>
                    <a:pt x="783" y="441"/>
                  </a:lnTo>
                  <a:lnTo>
                    <a:pt x="799" y="354"/>
                  </a:lnTo>
                  <a:lnTo>
                    <a:pt x="786" y="280"/>
                  </a:lnTo>
                  <a:lnTo>
                    <a:pt x="693" y="244"/>
                  </a:lnTo>
                  <a:lnTo>
                    <a:pt x="621" y="254"/>
                  </a:lnTo>
                  <a:lnTo>
                    <a:pt x="534" y="243"/>
                  </a:lnTo>
                  <a:lnTo>
                    <a:pt x="444" y="296"/>
                  </a:lnTo>
                  <a:lnTo>
                    <a:pt x="345" y="276"/>
                  </a:lnTo>
                  <a:lnTo>
                    <a:pt x="276" y="221"/>
                  </a:lnTo>
                  <a:lnTo>
                    <a:pt x="300" y="185"/>
                  </a:lnTo>
                  <a:lnTo>
                    <a:pt x="249" y="146"/>
                  </a:lnTo>
                  <a:lnTo>
                    <a:pt x="227" y="90"/>
                  </a:lnTo>
                  <a:lnTo>
                    <a:pt x="147" y="86"/>
                  </a:lnTo>
                  <a:lnTo>
                    <a:pt x="91" y="30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7" name="Freeform 119">
              <a:extLst>
                <a:ext uri="{FF2B5EF4-FFF2-40B4-BE49-F238E27FC236}">
                  <a16:creationId xmlns:a16="http://schemas.microsoft.com/office/drawing/2014/main" id="{0546FE65-E602-4016-96B7-9025DB75920B}"/>
                </a:ext>
              </a:extLst>
            </p:cNvPr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4533674" y="2428525"/>
              <a:ext cx="81640" cy="148658"/>
            </a:xfrm>
            <a:custGeom>
              <a:avLst/>
              <a:gdLst/>
              <a:ahLst/>
              <a:cxnLst>
                <a:cxn ang="0">
                  <a:pos x="0" y="242"/>
                </a:cxn>
                <a:cxn ang="0">
                  <a:pos x="37" y="301"/>
                </a:cxn>
                <a:cxn ang="0">
                  <a:pos x="56" y="377"/>
                </a:cxn>
                <a:cxn ang="0">
                  <a:pos x="34" y="445"/>
                </a:cxn>
                <a:cxn ang="0">
                  <a:pos x="41" y="535"/>
                </a:cxn>
                <a:cxn ang="0">
                  <a:pos x="91" y="609"/>
                </a:cxn>
                <a:cxn ang="0">
                  <a:pos x="202" y="610"/>
                </a:cxn>
                <a:cxn ang="0">
                  <a:pos x="248" y="537"/>
                </a:cxn>
                <a:cxn ang="0">
                  <a:pos x="276" y="444"/>
                </a:cxn>
                <a:cxn ang="0">
                  <a:pos x="323" y="392"/>
                </a:cxn>
                <a:cxn ang="0">
                  <a:pos x="318" y="317"/>
                </a:cxn>
                <a:cxn ang="0">
                  <a:pos x="254" y="297"/>
                </a:cxn>
                <a:cxn ang="0">
                  <a:pos x="268" y="214"/>
                </a:cxn>
                <a:cxn ang="0">
                  <a:pos x="238" y="167"/>
                </a:cxn>
                <a:cxn ang="0">
                  <a:pos x="164" y="151"/>
                </a:cxn>
                <a:cxn ang="0">
                  <a:pos x="130" y="91"/>
                </a:cxn>
                <a:cxn ang="0">
                  <a:pos x="111" y="1"/>
                </a:cxn>
                <a:cxn ang="0">
                  <a:pos x="64" y="0"/>
                </a:cxn>
                <a:cxn ang="0">
                  <a:pos x="53" y="88"/>
                </a:cxn>
                <a:cxn ang="0">
                  <a:pos x="8" y="154"/>
                </a:cxn>
                <a:cxn ang="0">
                  <a:pos x="0" y="242"/>
                </a:cxn>
              </a:cxnLst>
              <a:rect l="0" t="0" r="r" b="b"/>
              <a:pathLst>
                <a:path w="323" h="610">
                  <a:moveTo>
                    <a:pt x="0" y="242"/>
                  </a:moveTo>
                  <a:lnTo>
                    <a:pt x="37" y="301"/>
                  </a:lnTo>
                  <a:lnTo>
                    <a:pt x="56" y="377"/>
                  </a:lnTo>
                  <a:lnTo>
                    <a:pt x="34" y="445"/>
                  </a:lnTo>
                  <a:lnTo>
                    <a:pt x="41" y="535"/>
                  </a:lnTo>
                  <a:lnTo>
                    <a:pt x="91" y="609"/>
                  </a:lnTo>
                  <a:lnTo>
                    <a:pt x="202" y="610"/>
                  </a:lnTo>
                  <a:lnTo>
                    <a:pt x="248" y="537"/>
                  </a:lnTo>
                  <a:lnTo>
                    <a:pt x="276" y="444"/>
                  </a:lnTo>
                  <a:lnTo>
                    <a:pt x="323" y="392"/>
                  </a:lnTo>
                  <a:lnTo>
                    <a:pt x="318" y="317"/>
                  </a:lnTo>
                  <a:lnTo>
                    <a:pt x="254" y="297"/>
                  </a:lnTo>
                  <a:lnTo>
                    <a:pt x="268" y="214"/>
                  </a:lnTo>
                  <a:lnTo>
                    <a:pt x="238" y="167"/>
                  </a:lnTo>
                  <a:lnTo>
                    <a:pt x="164" y="151"/>
                  </a:lnTo>
                  <a:lnTo>
                    <a:pt x="130" y="91"/>
                  </a:lnTo>
                  <a:lnTo>
                    <a:pt x="111" y="1"/>
                  </a:lnTo>
                  <a:lnTo>
                    <a:pt x="64" y="0"/>
                  </a:lnTo>
                  <a:lnTo>
                    <a:pt x="53" y="88"/>
                  </a:lnTo>
                  <a:lnTo>
                    <a:pt x="8" y="154"/>
                  </a:lnTo>
                  <a:lnTo>
                    <a:pt x="0" y="242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8" name="Freeform 121">
              <a:extLst>
                <a:ext uri="{FF2B5EF4-FFF2-40B4-BE49-F238E27FC236}">
                  <a16:creationId xmlns:a16="http://schemas.microsoft.com/office/drawing/2014/main" id="{3FD7C7EB-96B5-42BF-B5F7-A997B608F47E}"/>
                </a:ext>
              </a:extLst>
            </p:cNvPr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4573885" y="2321296"/>
              <a:ext cx="193744" cy="346057"/>
            </a:xfrm>
            <a:custGeom>
              <a:avLst/>
              <a:gdLst/>
              <a:ahLst/>
              <a:cxnLst>
                <a:cxn ang="0">
                  <a:pos x="0" y="397"/>
                </a:cxn>
                <a:cxn ang="0">
                  <a:pos x="14" y="495"/>
                </a:cxn>
                <a:cxn ang="0">
                  <a:pos x="70" y="560"/>
                </a:cxn>
                <a:cxn ang="0">
                  <a:pos x="159" y="556"/>
                </a:cxn>
                <a:cxn ang="0">
                  <a:pos x="219" y="523"/>
                </a:cxn>
                <a:cxn ang="0">
                  <a:pos x="309" y="511"/>
                </a:cxn>
                <a:cxn ang="0">
                  <a:pos x="396" y="471"/>
                </a:cxn>
                <a:cxn ang="0">
                  <a:pos x="348" y="538"/>
                </a:cxn>
                <a:cxn ang="0">
                  <a:pos x="259" y="585"/>
                </a:cxn>
                <a:cxn ang="0">
                  <a:pos x="226" y="631"/>
                </a:cxn>
                <a:cxn ang="0">
                  <a:pos x="151" y="605"/>
                </a:cxn>
                <a:cxn ang="0">
                  <a:pos x="131" y="715"/>
                </a:cxn>
                <a:cxn ang="0">
                  <a:pos x="185" y="745"/>
                </a:cxn>
                <a:cxn ang="0">
                  <a:pos x="192" y="833"/>
                </a:cxn>
                <a:cxn ang="0">
                  <a:pos x="221" y="907"/>
                </a:cxn>
                <a:cxn ang="0">
                  <a:pos x="168" y="934"/>
                </a:cxn>
                <a:cxn ang="0">
                  <a:pos x="112" y="1051"/>
                </a:cxn>
                <a:cxn ang="0">
                  <a:pos x="198" y="1097"/>
                </a:cxn>
                <a:cxn ang="0">
                  <a:pos x="97" y="1118"/>
                </a:cxn>
                <a:cxn ang="0">
                  <a:pos x="100" y="1200"/>
                </a:cxn>
                <a:cxn ang="0">
                  <a:pos x="145" y="1231"/>
                </a:cxn>
                <a:cxn ang="0">
                  <a:pos x="95" y="1257"/>
                </a:cxn>
                <a:cxn ang="0">
                  <a:pos x="37" y="1316"/>
                </a:cxn>
                <a:cxn ang="0">
                  <a:pos x="38" y="1398"/>
                </a:cxn>
                <a:cxn ang="0">
                  <a:pos x="119" y="1413"/>
                </a:cxn>
                <a:cxn ang="0">
                  <a:pos x="241" y="1422"/>
                </a:cxn>
                <a:cxn ang="0">
                  <a:pos x="293" y="1384"/>
                </a:cxn>
                <a:cxn ang="0">
                  <a:pos x="356" y="1394"/>
                </a:cxn>
                <a:cxn ang="0">
                  <a:pos x="402" y="1355"/>
                </a:cxn>
                <a:cxn ang="0">
                  <a:pos x="438" y="1415"/>
                </a:cxn>
                <a:cxn ang="0">
                  <a:pos x="523" y="1352"/>
                </a:cxn>
                <a:cxn ang="0">
                  <a:pos x="563" y="1260"/>
                </a:cxn>
                <a:cxn ang="0">
                  <a:pos x="481" y="1192"/>
                </a:cxn>
                <a:cxn ang="0">
                  <a:pos x="535" y="1114"/>
                </a:cxn>
                <a:cxn ang="0">
                  <a:pos x="508" y="1052"/>
                </a:cxn>
                <a:cxn ang="0">
                  <a:pos x="592" y="1017"/>
                </a:cxn>
                <a:cxn ang="0">
                  <a:pos x="599" y="913"/>
                </a:cxn>
                <a:cxn ang="0">
                  <a:pos x="574" y="817"/>
                </a:cxn>
                <a:cxn ang="0">
                  <a:pos x="584" y="712"/>
                </a:cxn>
                <a:cxn ang="0">
                  <a:pos x="657" y="645"/>
                </a:cxn>
                <a:cxn ang="0">
                  <a:pos x="675" y="538"/>
                </a:cxn>
                <a:cxn ang="0">
                  <a:pos x="685" y="454"/>
                </a:cxn>
                <a:cxn ang="0">
                  <a:pos x="718" y="362"/>
                </a:cxn>
                <a:cxn ang="0">
                  <a:pos x="747" y="248"/>
                </a:cxn>
                <a:cxn ang="0">
                  <a:pos x="729" y="202"/>
                </a:cxn>
                <a:cxn ang="0">
                  <a:pos x="747" y="131"/>
                </a:cxn>
                <a:cxn ang="0">
                  <a:pos x="757" y="70"/>
                </a:cxn>
                <a:cxn ang="0">
                  <a:pos x="736" y="32"/>
                </a:cxn>
                <a:cxn ang="0">
                  <a:pos x="684" y="30"/>
                </a:cxn>
                <a:cxn ang="0">
                  <a:pos x="628" y="3"/>
                </a:cxn>
                <a:cxn ang="0">
                  <a:pos x="557" y="9"/>
                </a:cxn>
                <a:cxn ang="0">
                  <a:pos x="487" y="0"/>
                </a:cxn>
                <a:cxn ang="0">
                  <a:pos x="425" y="22"/>
                </a:cxn>
                <a:cxn ang="0">
                  <a:pos x="384" y="54"/>
                </a:cxn>
                <a:cxn ang="0">
                  <a:pos x="327" y="56"/>
                </a:cxn>
                <a:cxn ang="0">
                  <a:pos x="239" y="100"/>
                </a:cxn>
                <a:cxn ang="0">
                  <a:pos x="203" y="171"/>
                </a:cxn>
                <a:cxn ang="0">
                  <a:pos x="105" y="269"/>
                </a:cxn>
                <a:cxn ang="0">
                  <a:pos x="107" y="312"/>
                </a:cxn>
                <a:cxn ang="0">
                  <a:pos x="42" y="315"/>
                </a:cxn>
                <a:cxn ang="0">
                  <a:pos x="0" y="397"/>
                </a:cxn>
              </a:cxnLst>
              <a:rect l="0" t="0" r="r" b="b"/>
              <a:pathLst>
                <a:path w="757" h="1422">
                  <a:moveTo>
                    <a:pt x="0" y="397"/>
                  </a:moveTo>
                  <a:lnTo>
                    <a:pt x="14" y="495"/>
                  </a:lnTo>
                  <a:lnTo>
                    <a:pt x="70" y="560"/>
                  </a:lnTo>
                  <a:lnTo>
                    <a:pt x="159" y="556"/>
                  </a:lnTo>
                  <a:lnTo>
                    <a:pt x="219" y="523"/>
                  </a:lnTo>
                  <a:lnTo>
                    <a:pt x="309" y="511"/>
                  </a:lnTo>
                  <a:lnTo>
                    <a:pt x="396" y="471"/>
                  </a:lnTo>
                  <a:lnTo>
                    <a:pt x="348" y="538"/>
                  </a:lnTo>
                  <a:lnTo>
                    <a:pt x="259" y="585"/>
                  </a:lnTo>
                  <a:lnTo>
                    <a:pt x="226" y="631"/>
                  </a:lnTo>
                  <a:lnTo>
                    <a:pt x="151" y="605"/>
                  </a:lnTo>
                  <a:lnTo>
                    <a:pt x="131" y="715"/>
                  </a:lnTo>
                  <a:lnTo>
                    <a:pt x="185" y="745"/>
                  </a:lnTo>
                  <a:lnTo>
                    <a:pt x="192" y="833"/>
                  </a:lnTo>
                  <a:lnTo>
                    <a:pt x="221" y="907"/>
                  </a:lnTo>
                  <a:lnTo>
                    <a:pt x="168" y="934"/>
                  </a:lnTo>
                  <a:lnTo>
                    <a:pt x="112" y="1051"/>
                  </a:lnTo>
                  <a:lnTo>
                    <a:pt x="198" y="1097"/>
                  </a:lnTo>
                  <a:lnTo>
                    <a:pt x="97" y="1118"/>
                  </a:lnTo>
                  <a:lnTo>
                    <a:pt x="100" y="1200"/>
                  </a:lnTo>
                  <a:lnTo>
                    <a:pt x="145" y="1231"/>
                  </a:lnTo>
                  <a:lnTo>
                    <a:pt x="95" y="1257"/>
                  </a:lnTo>
                  <a:lnTo>
                    <a:pt x="37" y="1316"/>
                  </a:lnTo>
                  <a:lnTo>
                    <a:pt x="38" y="1398"/>
                  </a:lnTo>
                  <a:lnTo>
                    <a:pt x="119" y="1413"/>
                  </a:lnTo>
                  <a:lnTo>
                    <a:pt x="241" y="1422"/>
                  </a:lnTo>
                  <a:lnTo>
                    <a:pt x="293" y="1384"/>
                  </a:lnTo>
                  <a:lnTo>
                    <a:pt x="356" y="1394"/>
                  </a:lnTo>
                  <a:lnTo>
                    <a:pt x="402" y="1355"/>
                  </a:lnTo>
                  <a:lnTo>
                    <a:pt x="438" y="1415"/>
                  </a:lnTo>
                  <a:lnTo>
                    <a:pt x="523" y="1352"/>
                  </a:lnTo>
                  <a:lnTo>
                    <a:pt x="563" y="1260"/>
                  </a:lnTo>
                  <a:lnTo>
                    <a:pt x="481" y="1192"/>
                  </a:lnTo>
                  <a:lnTo>
                    <a:pt x="535" y="1114"/>
                  </a:lnTo>
                  <a:lnTo>
                    <a:pt x="508" y="1052"/>
                  </a:lnTo>
                  <a:lnTo>
                    <a:pt x="592" y="1017"/>
                  </a:lnTo>
                  <a:lnTo>
                    <a:pt x="599" y="913"/>
                  </a:lnTo>
                  <a:lnTo>
                    <a:pt x="574" y="817"/>
                  </a:lnTo>
                  <a:lnTo>
                    <a:pt x="584" y="712"/>
                  </a:lnTo>
                  <a:lnTo>
                    <a:pt x="657" y="645"/>
                  </a:lnTo>
                  <a:lnTo>
                    <a:pt x="675" y="538"/>
                  </a:lnTo>
                  <a:lnTo>
                    <a:pt x="685" y="454"/>
                  </a:lnTo>
                  <a:lnTo>
                    <a:pt x="718" y="362"/>
                  </a:lnTo>
                  <a:lnTo>
                    <a:pt x="747" y="248"/>
                  </a:lnTo>
                  <a:lnTo>
                    <a:pt x="729" y="202"/>
                  </a:lnTo>
                  <a:lnTo>
                    <a:pt x="747" y="131"/>
                  </a:lnTo>
                  <a:lnTo>
                    <a:pt x="757" y="70"/>
                  </a:lnTo>
                  <a:lnTo>
                    <a:pt x="736" y="32"/>
                  </a:lnTo>
                  <a:lnTo>
                    <a:pt x="684" y="30"/>
                  </a:lnTo>
                  <a:lnTo>
                    <a:pt x="628" y="3"/>
                  </a:lnTo>
                  <a:lnTo>
                    <a:pt x="557" y="9"/>
                  </a:lnTo>
                  <a:lnTo>
                    <a:pt x="487" y="0"/>
                  </a:lnTo>
                  <a:lnTo>
                    <a:pt x="425" y="22"/>
                  </a:lnTo>
                  <a:lnTo>
                    <a:pt x="384" y="54"/>
                  </a:lnTo>
                  <a:lnTo>
                    <a:pt x="327" y="56"/>
                  </a:lnTo>
                  <a:lnTo>
                    <a:pt x="239" y="100"/>
                  </a:lnTo>
                  <a:lnTo>
                    <a:pt x="203" y="171"/>
                  </a:lnTo>
                  <a:lnTo>
                    <a:pt x="105" y="269"/>
                  </a:lnTo>
                  <a:lnTo>
                    <a:pt x="107" y="312"/>
                  </a:lnTo>
                  <a:lnTo>
                    <a:pt x="42" y="315"/>
                  </a:lnTo>
                  <a:lnTo>
                    <a:pt x="0" y="397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9" name="Freeform 123">
              <a:extLst>
                <a:ext uri="{FF2B5EF4-FFF2-40B4-BE49-F238E27FC236}">
                  <a16:creationId xmlns:a16="http://schemas.microsoft.com/office/drawing/2014/main" id="{C8364CF6-F40D-4924-BB27-581E218A6470}"/>
                </a:ext>
              </a:extLst>
            </p:cNvPr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4492245" y="2476047"/>
              <a:ext cx="15840" cy="21933"/>
            </a:xfrm>
            <a:custGeom>
              <a:avLst/>
              <a:gdLst/>
              <a:ahLst/>
              <a:cxnLst>
                <a:cxn ang="0">
                  <a:pos x="0" y="48"/>
                </a:cxn>
                <a:cxn ang="0">
                  <a:pos x="59" y="87"/>
                </a:cxn>
                <a:cxn ang="0">
                  <a:pos x="31" y="0"/>
                </a:cxn>
                <a:cxn ang="0">
                  <a:pos x="0" y="48"/>
                </a:cxn>
              </a:cxnLst>
              <a:rect l="0" t="0" r="r" b="b"/>
              <a:pathLst>
                <a:path w="59" h="87">
                  <a:moveTo>
                    <a:pt x="0" y="48"/>
                  </a:moveTo>
                  <a:lnTo>
                    <a:pt x="59" y="87"/>
                  </a:lnTo>
                  <a:lnTo>
                    <a:pt x="31" y="0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40" name="Freeform 125">
              <a:extLst>
                <a:ext uri="{FF2B5EF4-FFF2-40B4-BE49-F238E27FC236}">
                  <a16:creationId xmlns:a16="http://schemas.microsoft.com/office/drawing/2014/main" id="{6DBA043C-0C64-4567-80F9-4A04B28E8D02}"/>
                </a:ext>
              </a:extLst>
            </p:cNvPr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4425226" y="2500417"/>
              <a:ext cx="97481" cy="88951"/>
            </a:xfrm>
            <a:custGeom>
              <a:avLst/>
              <a:gdLst/>
              <a:ahLst/>
              <a:cxnLst>
                <a:cxn ang="0">
                  <a:pos x="0" y="28"/>
                </a:cxn>
                <a:cxn ang="0">
                  <a:pos x="4" y="70"/>
                </a:cxn>
                <a:cxn ang="0">
                  <a:pos x="59" y="119"/>
                </a:cxn>
                <a:cxn ang="0">
                  <a:pos x="14" y="169"/>
                </a:cxn>
                <a:cxn ang="0">
                  <a:pos x="34" y="222"/>
                </a:cxn>
                <a:cxn ang="0">
                  <a:pos x="107" y="265"/>
                </a:cxn>
                <a:cxn ang="0">
                  <a:pos x="159" y="276"/>
                </a:cxn>
                <a:cxn ang="0">
                  <a:pos x="179" y="362"/>
                </a:cxn>
                <a:cxn ang="0">
                  <a:pos x="233" y="337"/>
                </a:cxn>
                <a:cxn ang="0">
                  <a:pos x="357" y="337"/>
                </a:cxn>
                <a:cxn ang="0">
                  <a:pos x="380" y="280"/>
                </a:cxn>
                <a:cxn ang="0">
                  <a:pos x="368" y="229"/>
                </a:cxn>
                <a:cxn ang="0">
                  <a:pos x="293" y="150"/>
                </a:cxn>
                <a:cxn ang="0">
                  <a:pos x="275" y="231"/>
                </a:cxn>
                <a:cxn ang="0">
                  <a:pos x="247" y="307"/>
                </a:cxn>
                <a:cxn ang="0">
                  <a:pos x="209" y="291"/>
                </a:cxn>
                <a:cxn ang="0">
                  <a:pos x="204" y="219"/>
                </a:cxn>
                <a:cxn ang="0">
                  <a:pos x="218" y="142"/>
                </a:cxn>
                <a:cxn ang="0">
                  <a:pos x="177" y="71"/>
                </a:cxn>
                <a:cxn ang="0">
                  <a:pos x="119" y="58"/>
                </a:cxn>
                <a:cxn ang="0">
                  <a:pos x="83" y="13"/>
                </a:cxn>
                <a:cxn ang="0">
                  <a:pos x="33" y="0"/>
                </a:cxn>
                <a:cxn ang="0">
                  <a:pos x="0" y="28"/>
                </a:cxn>
              </a:cxnLst>
              <a:rect l="0" t="0" r="r" b="b"/>
              <a:pathLst>
                <a:path w="380" h="362">
                  <a:moveTo>
                    <a:pt x="0" y="28"/>
                  </a:moveTo>
                  <a:lnTo>
                    <a:pt x="4" y="70"/>
                  </a:lnTo>
                  <a:lnTo>
                    <a:pt x="59" y="119"/>
                  </a:lnTo>
                  <a:lnTo>
                    <a:pt x="14" y="169"/>
                  </a:lnTo>
                  <a:lnTo>
                    <a:pt x="34" y="222"/>
                  </a:lnTo>
                  <a:lnTo>
                    <a:pt x="107" y="265"/>
                  </a:lnTo>
                  <a:lnTo>
                    <a:pt x="159" y="276"/>
                  </a:lnTo>
                  <a:lnTo>
                    <a:pt x="179" y="362"/>
                  </a:lnTo>
                  <a:lnTo>
                    <a:pt x="233" y="337"/>
                  </a:lnTo>
                  <a:lnTo>
                    <a:pt x="357" y="337"/>
                  </a:lnTo>
                  <a:lnTo>
                    <a:pt x="380" y="280"/>
                  </a:lnTo>
                  <a:lnTo>
                    <a:pt x="368" y="229"/>
                  </a:lnTo>
                  <a:lnTo>
                    <a:pt x="293" y="150"/>
                  </a:lnTo>
                  <a:lnTo>
                    <a:pt x="275" y="231"/>
                  </a:lnTo>
                  <a:lnTo>
                    <a:pt x="247" y="307"/>
                  </a:lnTo>
                  <a:lnTo>
                    <a:pt x="209" y="291"/>
                  </a:lnTo>
                  <a:lnTo>
                    <a:pt x="204" y="219"/>
                  </a:lnTo>
                  <a:lnTo>
                    <a:pt x="218" y="142"/>
                  </a:lnTo>
                  <a:lnTo>
                    <a:pt x="177" y="71"/>
                  </a:lnTo>
                  <a:lnTo>
                    <a:pt x="119" y="58"/>
                  </a:lnTo>
                  <a:lnTo>
                    <a:pt x="83" y="13"/>
                  </a:lnTo>
                  <a:lnTo>
                    <a:pt x="33" y="0"/>
                  </a:lnTo>
                  <a:lnTo>
                    <a:pt x="0" y="28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41" name="Freeform 127">
              <a:extLst>
                <a:ext uri="{FF2B5EF4-FFF2-40B4-BE49-F238E27FC236}">
                  <a16:creationId xmlns:a16="http://schemas.microsoft.com/office/drawing/2014/main" id="{B112D8AB-2096-4C1D-B309-53043C669EF2}"/>
                </a:ext>
              </a:extLst>
            </p:cNvPr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4501994" y="2591805"/>
              <a:ext cx="49959" cy="24370"/>
            </a:xfrm>
            <a:custGeom>
              <a:avLst/>
              <a:gdLst/>
              <a:ahLst/>
              <a:cxnLst>
                <a:cxn ang="0">
                  <a:pos x="0" y="23"/>
                </a:cxn>
                <a:cxn ang="0">
                  <a:pos x="73" y="71"/>
                </a:cxn>
                <a:cxn ang="0">
                  <a:pos x="158" y="100"/>
                </a:cxn>
                <a:cxn ang="0">
                  <a:pos x="196" y="59"/>
                </a:cxn>
                <a:cxn ang="0">
                  <a:pos x="191" y="13"/>
                </a:cxn>
                <a:cxn ang="0">
                  <a:pos x="86" y="0"/>
                </a:cxn>
                <a:cxn ang="0">
                  <a:pos x="0" y="23"/>
                </a:cxn>
              </a:cxnLst>
              <a:rect l="0" t="0" r="r" b="b"/>
              <a:pathLst>
                <a:path w="196" h="100">
                  <a:moveTo>
                    <a:pt x="0" y="23"/>
                  </a:moveTo>
                  <a:lnTo>
                    <a:pt x="73" y="71"/>
                  </a:lnTo>
                  <a:lnTo>
                    <a:pt x="158" y="100"/>
                  </a:lnTo>
                  <a:lnTo>
                    <a:pt x="196" y="59"/>
                  </a:lnTo>
                  <a:lnTo>
                    <a:pt x="191" y="13"/>
                  </a:lnTo>
                  <a:lnTo>
                    <a:pt x="86" y="0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42" name="Freeform 128">
              <a:extLst>
                <a:ext uri="{FF2B5EF4-FFF2-40B4-BE49-F238E27FC236}">
                  <a16:creationId xmlns:a16="http://schemas.microsoft.com/office/drawing/2014/main" id="{CBB6DE71-BA31-424B-8C50-47006BEEF3F1}"/>
                </a:ext>
              </a:extLst>
            </p:cNvPr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4501994" y="2591805"/>
              <a:ext cx="49959" cy="24370"/>
            </a:xfrm>
            <a:custGeom>
              <a:avLst/>
              <a:gdLst/>
              <a:ahLst/>
              <a:cxnLst>
                <a:cxn ang="0">
                  <a:pos x="0" y="23"/>
                </a:cxn>
                <a:cxn ang="0">
                  <a:pos x="73" y="71"/>
                </a:cxn>
                <a:cxn ang="0">
                  <a:pos x="158" y="100"/>
                </a:cxn>
                <a:cxn ang="0">
                  <a:pos x="196" y="59"/>
                </a:cxn>
                <a:cxn ang="0">
                  <a:pos x="191" y="13"/>
                </a:cxn>
                <a:cxn ang="0">
                  <a:pos x="86" y="0"/>
                </a:cxn>
                <a:cxn ang="0">
                  <a:pos x="0" y="23"/>
                </a:cxn>
              </a:cxnLst>
              <a:rect l="0" t="0" r="r" b="b"/>
              <a:pathLst>
                <a:path w="196" h="100">
                  <a:moveTo>
                    <a:pt x="0" y="23"/>
                  </a:moveTo>
                  <a:lnTo>
                    <a:pt x="73" y="71"/>
                  </a:lnTo>
                  <a:lnTo>
                    <a:pt x="158" y="100"/>
                  </a:lnTo>
                  <a:lnTo>
                    <a:pt x="196" y="59"/>
                  </a:lnTo>
                  <a:lnTo>
                    <a:pt x="191" y="13"/>
                  </a:lnTo>
                  <a:lnTo>
                    <a:pt x="86" y="0"/>
                  </a:lnTo>
                  <a:lnTo>
                    <a:pt x="0" y="23"/>
                  </a:lnTo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43" name="Freeform 129">
              <a:extLst>
                <a:ext uri="{FF2B5EF4-FFF2-40B4-BE49-F238E27FC236}">
                  <a16:creationId xmlns:a16="http://schemas.microsoft.com/office/drawing/2014/main" id="{86E1F42C-AF4D-43BC-8053-E55593993CAB}"/>
                </a:ext>
              </a:extLst>
            </p:cNvPr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4408168" y="2579620"/>
              <a:ext cx="12186" cy="32900"/>
            </a:xfrm>
            <a:custGeom>
              <a:avLst/>
              <a:gdLst/>
              <a:ahLst/>
              <a:cxnLst>
                <a:cxn ang="0">
                  <a:pos x="10" y="5"/>
                </a:cxn>
                <a:cxn ang="0">
                  <a:pos x="0" y="101"/>
                </a:cxn>
                <a:cxn ang="0">
                  <a:pos x="51" y="135"/>
                </a:cxn>
                <a:cxn ang="0">
                  <a:pos x="44" y="63"/>
                </a:cxn>
                <a:cxn ang="0">
                  <a:pos x="52" y="0"/>
                </a:cxn>
                <a:cxn ang="0">
                  <a:pos x="10" y="5"/>
                </a:cxn>
              </a:cxnLst>
              <a:rect l="0" t="0" r="r" b="b"/>
              <a:pathLst>
                <a:path w="52" h="135">
                  <a:moveTo>
                    <a:pt x="10" y="5"/>
                  </a:moveTo>
                  <a:lnTo>
                    <a:pt x="0" y="101"/>
                  </a:lnTo>
                  <a:lnTo>
                    <a:pt x="51" y="135"/>
                  </a:lnTo>
                  <a:lnTo>
                    <a:pt x="44" y="63"/>
                  </a:lnTo>
                  <a:lnTo>
                    <a:pt x="52" y="0"/>
                  </a:lnTo>
                  <a:lnTo>
                    <a:pt x="10" y="5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44" name="Freeform 130">
              <a:extLst>
                <a:ext uri="{FF2B5EF4-FFF2-40B4-BE49-F238E27FC236}">
                  <a16:creationId xmlns:a16="http://schemas.microsoft.com/office/drawing/2014/main" id="{ED77EAC6-DDC8-4DF1-BF05-CB3EC5DF78BE}"/>
                </a:ext>
              </a:extLst>
            </p:cNvPr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4408168" y="2579620"/>
              <a:ext cx="12186" cy="32900"/>
            </a:xfrm>
            <a:custGeom>
              <a:avLst/>
              <a:gdLst/>
              <a:ahLst/>
              <a:cxnLst>
                <a:cxn ang="0">
                  <a:pos x="10" y="5"/>
                </a:cxn>
                <a:cxn ang="0">
                  <a:pos x="0" y="101"/>
                </a:cxn>
                <a:cxn ang="0">
                  <a:pos x="51" y="135"/>
                </a:cxn>
                <a:cxn ang="0">
                  <a:pos x="44" y="63"/>
                </a:cxn>
                <a:cxn ang="0">
                  <a:pos x="52" y="0"/>
                </a:cxn>
                <a:cxn ang="0">
                  <a:pos x="10" y="5"/>
                </a:cxn>
              </a:cxnLst>
              <a:rect l="0" t="0" r="r" b="b"/>
              <a:pathLst>
                <a:path w="52" h="135">
                  <a:moveTo>
                    <a:pt x="10" y="5"/>
                  </a:moveTo>
                  <a:lnTo>
                    <a:pt x="0" y="101"/>
                  </a:lnTo>
                  <a:lnTo>
                    <a:pt x="51" y="135"/>
                  </a:lnTo>
                  <a:lnTo>
                    <a:pt x="44" y="63"/>
                  </a:lnTo>
                  <a:lnTo>
                    <a:pt x="52" y="0"/>
                  </a:lnTo>
                  <a:lnTo>
                    <a:pt x="10" y="5"/>
                  </a:lnTo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45" name="Freeform 131">
              <a:extLst>
                <a:ext uri="{FF2B5EF4-FFF2-40B4-BE49-F238E27FC236}">
                  <a16:creationId xmlns:a16="http://schemas.microsoft.com/office/drawing/2014/main" id="{A11A5C3A-7A84-4A15-8247-01B44A56FF65}"/>
                </a:ext>
              </a:extLst>
            </p:cNvPr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4404513" y="2633234"/>
              <a:ext cx="77985" cy="8651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" y="88"/>
                </a:cxn>
                <a:cxn ang="0">
                  <a:pos x="10" y="155"/>
                </a:cxn>
                <a:cxn ang="0">
                  <a:pos x="39" y="246"/>
                </a:cxn>
                <a:cxn ang="0">
                  <a:pos x="121" y="219"/>
                </a:cxn>
                <a:cxn ang="0">
                  <a:pos x="145" y="337"/>
                </a:cxn>
                <a:cxn ang="0">
                  <a:pos x="259" y="356"/>
                </a:cxn>
                <a:cxn ang="0">
                  <a:pos x="297" y="258"/>
                </a:cxn>
                <a:cxn ang="0">
                  <a:pos x="301" y="176"/>
                </a:cxn>
                <a:cxn ang="0">
                  <a:pos x="310" y="101"/>
                </a:cxn>
                <a:cxn ang="0">
                  <a:pos x="251" y="36"/>
                </a:cxn>
                <a:cxn ang="0">
                  <a:pos x="173" y="15"/>
                </a:cxn>
                <a:cxn ang="0">
                  <a:pos x="132" y="64"/>
                </a:cxn>
                <a:cxn ang="0">
                  <a:pos x="112" y="144"/>
                </a:cxn>
                <a:cxn ang="0">
                  <a:pos x="80" y="63"/>
                </a:cxn>
                <a:cxn ang="0">
                  <a:pos x="48" y="1"/>
                </a:cxn>
                <a:cxn ang="0">
                  <a:pos x="0" y="0"/>
                </a:cxn>
              </a:cxnLst>
              <a:rect l="0" t="0" r="r" b="b"/>
              <a:pathLst>
                <a:path w="310" h="356">
                  <a:moveTo>
                    <a:pt x="0" y="0"/>
                  </a:moveTo>
                  <a:lnTo>
                    <a:pt x="14" y="88"/>
                  </a:lnTo>
                  <a:lnTo>
                    <a:pt x="10" y="155"/>
                  </a:lnTo>
                  <a:lnTo>
                    <a:pt x="39" y="246"/>
                  </a:lnTo>
                  <a:lnTo>
                    <a:pt x="121" y="219"/>
                  </a:lnTo>
                  <a:lnTo>
                    <a:pt x="145" y="337"/>
                  </a:lnTo>
                  <a:lnTo>
                    <a:pt x="259" y="356"/>
                  </a:lnTo>
                  <a:lnTo>
                    <a:pt x="297" y="258"/>
                  </a:lnTo>
                  <a:lnTo>
                    <a:pt x="301" y="176"/>
                  </a:lnTo>
                  <a:lnTo>
                    <a:pt x="310" y="101"/>
                  </a:lnTo>
                  <a:lnTo>
                    <a:pt x="251" y="36"/>
                  </a:lnTo>
                  <a:lnTo>
                    <a:pt x="173" y="15"/>
                  </a:lnTo>
                  <a:lnTo>
                    <a:pt x="132" y="64"/>
                  </a:lnTo>
                  <a:lnTo>
                    <a:pt x="112" y="144"/>
                  </a:lnTo>
                  <a:lnTo>
                    <a:pt x="80" y="63"/>
                  </a:lnTo>
                  <a:lnTo>
                    <a:pt x="48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46" name="Freeform 133">
              <a:extLst>
                <a:ext uri="{FF2B5EF4-FFF2-40B4-BE49-F238E27FC236}">
                  <a16:creationId xmlns:a16="http://schemas.microsoft.com/office/drawing/2014/main" id="{771A4C54-77E4-4249-B73E-C028083F63F0}"/>
                </a:ext>
              </a:extLst>
            </p:cNvPr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4388672" y="2686849"/>
              <a:ext cx="13404" cy="17059"/>
            </a:xfrm>
            <a:custGeom>
              <a:avLst/>
              <a:gdLst/>
              <a:ahLst/>
              <a:cxnLst>
                <a:cxn ang="0">
                  <a:pos x="0" y="60"/>
                </a:cxn>
                <a:cxn ang="0">
                  <a:pos x="58" y="71"/>
                </a:cxn>
                <a:cxn ang="0">
                  <a:pos x="42" y="0"/>
                </a:cxn>
                <a:cxn ang="0">
                  <a:pos x="0" y="60"/>
                </a:cxn>
              </a:cxnLst>
              <a:rect l="0" t="0" r="r" b="b"/>
              <a:pathLst>
                <a:path w="58" h="71">
                  <a:moveTo>
                    <a:pt x="0" y="60"/>
                  </a:moveTo>
                  <a:lnTo>
                    <a:pt x="58" y="71"/>
                  </a:lnTo>
                  <a:lnTo>
                    <a:pt x="42" y="0"/>
                  </a:lnTo>
                  <a:lnTo>
                    <a:pt x="0" y="60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47" name="Freeform 134">
              <a:extLst>
                <a:ext uri="{FF2B5EF4-FFF2-40B4-BE49-F238E27FC236}">
                  <a16:creationId xmlns:a16="http://schemas.microsoft.com/office/drawing/2014/main" id="{4A20A44D-1A99-48E4-B49F-6178BFCF3DDD}"/>
                </a:ext>
              </a:extLst>
            </p:cNvPr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4388672" y="2686849"/>
              <a:ext cx="13404" cy="17059"/>
            </a:xfrm>
            <a:custGeom>
              <a:avLst/>
              <a:gdLst/>
              <a:ahLst/>
              <a:cxnLst>
                <a:cxn ang="0">
                  <a:pos x="0" y="60"/>
                </a:cxn>
                <a:cxn ang="0">
                  <a:pos x="58" y="71"/>
                </a:cxn>
                <a:cxn ang="0">
                  <a:pos x="42" y="0"/>
                </a:cxn>
                <a:cxn ang="0">
                  <a:pos x="0" y="60"/>
                </a:cxn>
              </a:cxnLst>
              <a:rect l="0" t="0" r="r" b="b"/>
              <a:pathLst>
                <a:path w="58" h="71">
                  <a:moveTo>
                    <a:pt x="0" y="60"/>
                  </a:moveTo>
                  <a:lnTo>
                    <a:pt x="58" y="71"/>
                  </a:lnTo>
                  <a:lnTo>
                    <a:pt x="42" y="0"/>
                  </a:lnTo>
                  <a:lnTo>
                    <a:pt x="0" y="60"/>
                  </a:lnTo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48" name="Freeform 135">
              <a:extLst>
                <a:ext uri="{FF2B5EF4-FFF2-40B4-BE49-F238E27FC236}">
                  <a16:creationId xmlns:a16="http://schemas.microsoft.com/office/drawing/2014/main" id="{73A8CDC5-B01E-4C73-B74C-257083D986D0}"/>
                </a:ext>
              </a:extLst>
            </p:cNvPr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4387453" y="2764834"/>
              <a:ext cx="93825" cy="130381"/>
            </a:xfrm>
            <a:custGeom>
              <a:avLst/>
              <a:gdLst/>
              <a:ahLst/>
              <a:cxnLst>
                <a:cxn ang="0">
                  <a:pos x="0" y="186"/>
                </a:cxn>
                <a:cxn ang="0">
                  <a:pos x="21" y="249"/>
                </a:cxn>
                <a:cxn ang="0">
                  <a:pos x="26" y="327"/>
                </a:cxn>
                <a:cxn ang="0">
                  <a:pos x="89" y="338"/>
                </a:cxn>
                <a:cxn ang="0">
                  <a:pos x="135" y="430"/>
                </a:cxn>
                <a:cxn ang="0">
                  <a:pos x="177" y="536"/>
                </a:cxn>
                <a:cxn ang="0">
                  <a:pos x="258" y="481"/>
                </a:cxn>
                <a:cxn ang="0">
                  <a:pos x="349" y="459"/>
                </a:cxn>
                <a:cxn ang="0">
                  <a:pos x="371" y="346"/>
                </a:cxn>
                <a:cxn ang="0">
                  <a:pos x="359" y="233"/>
                </a:cxn>
                <a:cxn ang="0">
                  <a:pos x="283" y="186"/>
                </a:cxn>
                <a:cxn ang="0">
                  <a:pos x="350" y="102"/>
                </a:cxn>
                <a:cxn ang="0">
                  <a:pos x="326" y="0"/>
                </a:cxn>
                <a:cxn ang="0">
                  <a:pos x="262" y="34"/>
                </a:cxn>
                <a:cxn ang="0">
                  <a:pos x="192" y="7"/>
                </a:cxn>
                <a:cxn ang="0">
                  <a:pos x="128" y="28"/>
                </a:cxn>
                <a:cxn ang="0">
                  <a:pos x="107" y="91"/>
                </a:cxn>
                <a:cxn ang="0">
                  <a:pos x="141" y="192"/>
                </a:cxn>
                <a:cxn ang="0">
                  <a:pos x="57" y="169"/>
                </a:cxn>
                <a:cxn ang="0">
                  <a:pos x="0" y="186"/>
                </a:cxn>
              </a:cxnLst>
              <a:rect l="0" t="0" r="r" b="b"/>
              <a:pathLst>
                <a:path w="371" h="536">
                  <a:moveTo>
                    <a:pt x="0" y="186"/>
                  </a:moveTo>
                  <a:lnTo>
                    <a:pt x="21" y="249"/>
                  </a:lnTo>
                  <a:lnTo>
                    <a:pt x="26" y="327"/>
                  </a:lnTo>
                  <a:lnTo>
                    <a:pt x="89" y="338"/>
                  </a:lnTo>
                  <a:lnTo>
                    <a:pt x="135" y="430"/>
                  </a:lnTo>
                  <a:lnTo>
                    <a:pt x="177" y="536"/>
                  </a:lnTo>
                  <a:lnTo>
                    <a:pt x="258" y="481"/>
                  </a:lnTo>
                  <a:lnTo>
                    <a:pt x="349" y="459"/>
                  </a:lnTo>
                  <a:lnTo>
                    <a:pt x="371" y="346"/>
                  </a:lnTo>
                  <a:lnTo>
                    <a:pt x="359" y="233"/>
                  </a:lnTo>
                  <a:lnTo>
                    <a:pt x="283" y="186"/>
                  </a:lnTo>
                  <a:lnTo>
                    <a:pt x="350" y="102"/>
                  </a:lnTo>
                  <a:lnTo>
                    <a:pt x="326" y="0"/>
                  </a:lnTo>
                  <a:lnTo>
                    <a:pt x="262" y="34"/>
                  </a:lnTo>
                  <a:lnTo>
                    <a:pt x="192" y="7"/>
                  </a:lnTo>
                  <a:lnTo>
                    <a:pt x="128" y="28"/>
                  </a:lnTo>
                  <a:lnTo>
                    <a:pt x="107" y="91"/>
                  </a:lnTo>
                  <a:lnTo>
                    <a:pt x="141" y="192"/>
                  </a:lnTo>
                  <a:lnTo>
                    <a:pt x="57" y="169"/>
                  </a:lnTo>
                  <a:lnTo>
                    <a:pt x="0" y="186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49" name="Freeform 137">
              <a:extLst>
                <a:ext uri="{FF2B5EF4-FFF2-40B4-BE49-F238E27FC236}">
                  <a16:creationId xmlns:a16="http://schemas.microsoft.com/office/drawing/2014/main" id="{8EC44756-5873-43D6-AF01-29481716AC8D}"/>
                </a:ext>
              </a:extLst>
            </p:cNvPr>
            <p:cNvSpPr>
              <a:spLocks/>
            </p:cNvSpPr>
            <p:nvPr>
              <p:custDataLst>
                <p:tags r:id="rId88"/>
              </p:custDataLst>
            </p:nvPr>
          </p:nvSpPr>
          <p:spPr bwMode="auto">
            <a:xfrm>
              <a:off x="4339931" y="2518695"/>
              <a:ext cx="48740" cy="25589"/>
            </a:xfrm>
            <a:custGeom>
              <a:avLst/>
              <a:gdLst/>
              <a:ahLst/>
              <a:cxnLst>
                <a:cxn ang="0">
                  <a:pos x="0" y="34"/>
                </a:cxn>
                <a:cxn ang="0">
                  <a:pos x="69" y="51"/>
                </a:cxn>
                <a:cxn ang="0">
                  <a:pos x="97" y="90"/>
                </a:cxn>
                <a:cxn ang="0">
                  <a:pos x="153" y="104"/>
                </a:cxn>
                <a:cxn ang="0">
                  <a:pos x="191" y="78"/>
                </a:cxn>
                <a:cxn ang="0">
                  <a:pos x="135" y="17"/>
                </a:cxn>
                <a:cxn ang="0">
                  <a:pos x="47" y="0"/>
                </a:cxn>
                <a:cxn ang="0">
                  <a:pos x="0" y="34"/>
                </a:cxn>
              </a:cxnLst>
              <a:rect l="0" t="0" r="r" b="b"/>
              <a:pathLst>
                <a:path w="191" h="104">
                  <a:moveTo>
                    <a:pt x="0" y="34"/>
                  </a:moveTo>
                  <a:lnTo>
                    <a:pt x="69" y="51"/>
                  </a:lnTo>
                  <a:lnTo>
                    <a:pt x="97" y="90"/>
                  </a:lnTo>
                  <a:lnTo>
                    <a:pt x="153" y="104"/>
                  </a:lnTo>
                  <a:lnTo>
                    <a:pt x="191" y="78"/>
                  </a:lnTo>
                  <a:lnTo>
                    <a:pt x="135" y="17"/>
                  </a:lnTo>
                  <a:lnTo>
                    <a:pt x="47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50" name="Freeform 139">
              <a:extLst>
                <a:ext uri="{FF2B5EF4-FFF2-40B4-BE49-F238E27FC236}">
                  <a16:creationId xmlns:a16="http://schemas.microsoft.com/office/drawing/2014/main" id="{6D047750-F746-4BDA-A257-65905CA9240B}"/>
                </a:ext>
              </a:extLst>
            </p:cNvPr>
            <p:cNvSpPr>
              <a:spLocks/>
            </p:cNvSpPr>
            <p:nvPr>
              <p:custDataLst>
                <p:tags r:id="rId89"/>
              </p:custDataLst>
            </p:nvPr>
          </p:nvSpPr>
          <p:spPr bwMode="auto">
            <a:xfrm>
              <a:off x="4315561" y="2532099"/>
              <a:ext cx="17059" cy="15840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8" y="59"/>
                </a:cxn>
                <a:cxn ang="0">
                  <a:pos x="40" y="63"/>
                </a:cxn>
                <a:cxn ang="0">
                  <a:pos x="61" y="0"/>
                </a:cxn>
                <a:cxn ang="0">
                  <a:pos x="0" y="8"/>
                </a:cxn>
              </a:cxnLst>
              <a:rect l="0" t="0" r="r" b="b"/>
              <a:pathLst>
                <a:path w="61" h="63">
                  <a:moveTo>
                    <a:pt x="0" y="8"/>
                  </a:moveTo>
                  <a:lnTo>
                    <a:pt x="8" y="59"/>
                  </a:lnTo>
                  <a:lnTo>
                    <a:pt x="40" y="63"/>
                  </a:lnTo>
                  <a:lnTo>
                    <a:pt x="61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51" name="Freeform 141">
              <a:extLst>
                <a:ext uri="{FF2B5EF4-FFF2-40B4-BE49-F238E27FC236}">
                  <a16:creationId xmlns:a16="http://schemas.microsoft.com/office/drawing/2014/main" id="{218BB5DE-980C-440C-B8DA-30FABF3F26A0}"/>
                </a:ext>
              </a:extLst>
            </p:cNvPr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4327746" y="2547939"/>
              <a:ext cx="43866" cy="28026"/>
            </a:xfrm>
            <a:custGeom>
              <a:avLst/>
              <a:gdLst/>
              <a:ahLst/>
              <a:cxnLst>
                <a:cxn ang="0">
                  <a:pos x="13" y="10"/>
                </a:cxn>
                <a:cxn ang="0">
                  <a:pos x="0" y="77"/>
                </a:cxn>
                <a:cxn ang="0">
                  <a:pos x="54" y="116"/>
                </a:cxn>
                <a:cxn ang="0">
                  <a:pos x="136" y="94"/>
                </a:cxn>
                <a:cxn ang="0">
                  <a:pos x="172" y="12"/>
                </a:cxn>
                <a:cxn ang="0">
                  <a:pos x="129" y="0"/>
                </a:cxn>
                <a:cxn ang="0">
                  <a:pos x="74" y="10"/>
                </a:cxn>
                <a:cxn ang="0">
                  <a:pos x="13" y="10"/>
                </a:cxn>
              </a:cxnLst>
              <a:rect l="0" t="0" r="r" b="b"/>
              <a:pathLst>
                <a:path w="172" h="116">
                  <a:moveTo>
                    <a:pt x="13" y="10"/>
                  </a:moveTo>
                  <a:lnTo>
                    <a:pt x="0" y="77"/>
                  </a:lnTo>
                  <a:lnTo>
                    <a:pt x="54" y="116"/>
                  </a:lnTo>
                  <a:lnTo>
                    <a:pt x="136" y="94"/>
                  </a:lnTo>
                  <a:lnTo>
                    <a:pt x="172" y="12"/>
                  </a:lnTo>
                  <a:lnTo>
                    <a:pt x="129" y="0"/>
                  </a:lnTo>
                  <a:lnTo>
                    <a:pt x="74" y="10"/>
                  </a:lnTo>
                  <a:lnTo>
                    <a:pt x="13" y="10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52" name="Freeform 143">
              <a:extLst>
                <a:ext uri="{FF2B5EF4-FFF2-40B4-BE49-F238E27FC236}">
                  <a16:creationId xmlns:a16="http://schemas.microsoft.com/office/drawing/2014/main" id="{225EA7F1-79D7-4DB9-8E77-6B759A2BF8B0}"/>
                </a:ext>
              </a:extLst>
            </p:cNvPr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4221736" y="2601554"/>
              <a:ext cx="31682" cy="23152"/>
            </a:xfrm>
            <a:custGeom>
              <a:avLst/>
              <a:gdLst/>
              <a:ahLst/>
              <a:cxnLst>
                <a:cxn ang="0">
                  <a:pos x="0" y="56"/>
                </a:cxn>
                <a:cxn ang="0">
                  <a:pos x="34" y="97"/>
                </a:cxn>
                <a:cxn ang="0">
                  <a:pos x="76" y="59"/>
                </a:cxn>
                <a:cxn ang="0">
                  <a:pos x="125" y="0"/>
                </a:cxn>
                <a:cxn ang="0">
                  <a:pos x="55" y="15"/>
                </a:cxn>
                <a:cxn ang="0">
                  <a:pos x="0" y="56"/>
                </a:cxn>
              </a:cxnLst>
              <a:rect l="0" t="0" r="r" b="b"/>
              <a:pathLst>
                <a:path w="125" h="97">
                  <a:moveTo>
                    <a:pt x="0" y="56"/>
                  </a:moveTo>
                  <a:lnTo>
                    <a:pt x="34" y="97"/>
                  </a:lnTo>
                  <a:lnTo>
                    <a:pt x="76" y="59"/>
                  </a:lnTo>
                  <a:lnTo>
                    <a:pt x="125" y="0"/>
                  </a:lnTo>
                  <a:lnTo>
                    <a:pt x="55" y="15"/>
                  </a:lnTo>
                  <a:lnTo>
                    <a:pt x="0" y="56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53" name="Freeform 145">
              <a:extLst>
                <a:ext uri="{FF2B5EF4-FFF2-40B4-BE49-F238E27FC236}">
                  <a16:creationId xmlns:a16="http://schemas.microsoft.com/office/drawing/2014/main" id="{3CB8FF5E-24BF-4033-89E6-189C391CA1CA}"/>
                </a:ext>
              </a:extLst>
            </p:cNvPr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4190054" y="2541846"/>
              <a:ext cx="114540" cy="56052"/>
            </a:xfrm>
            <a:custGeom>
              <a:avLst/>
              <a:gdLst/>
              <a:ahLst/>
              <a:cxnLst>
                <a:cxn ang="0">
                  <a:pos x="0" y="71"/>
                </a:cxn>
                <a:cxn ang="0">
                  <a:pos x="3" y="163"/>
                </a:cxn>
                <a:cxn ang="0">
                  <a:pos x="55" y="184"/>
                </a:cxn>
                <a:cxn ang="0">
                  <a:pos x="103" y="231"/>
                </a:cxn>
                <a:cxn ang="0">
                  <a:pos x="181" y="198"/>
                </a:cxn>
                <a:cxn ang="0">
                  <a:pos x="236" y="154"/>
                </a:cxn>
                <a:cxn ang="0">
                  <a:pos x="276" y="219"/>
                </a:cxn>
                <a:cxn ang="0">
                  <a:pos x="368" y="172"/>
                </a:cxn>
                <a:cxn ang="0">
                  <a:pos x="382" y="99"/>
                </a:cxn>
                <a:cxn ang="0">
                  <a:pos x="446" y="74"/>
                </a:cxn>
                <a:cxn ang="0">
                  <a:pos x="419" y="7"/>
                </a:cxn>
                <a:cxn ang="0">
                  <a:pos x="359" y="40"/>
                </a:cxn>
                <a:cxn ang="0">
                  <a:pos x="297" y="0"/>
                </a:cxn>
                <a:cxn ang="0">
                  <a:pos x="236" y="6"/>
                </a:cxn>
                <a:cxn ang="0">
                  <a:pos x="165" y="26"/>
                </a:cxn>
                <a:cxn ang="0">
                  <a:pos x="82" y="64"/>
                </a:cxn>
                <a:cxn ang="0">
                  <a:pos x="0" y="71"/>
                </a:cxn>
              </a:cxnLst>
              <a:rect l="0" t="0" r="r" b="b"/>
              <a:pathLst>
                <a:path w="446" h="231">
                  <a:moveTo>
                    <a:pt x="0" y="71"/>
                  </a:moveTo>
                  <a:lnTo>
                    <a:pt x="3" y="163"/>
                  </a:lnTo>
                  <a:lnTo>
                    <a:pt x="55" y="184"/>
                  </a:lnTo>
                  <a:lnTo>
                    <a:pt x="103" y="231"/>
                  </a:lnTo>
                  <a:lnTo>
                    <a:pt x="181" y="198"/>
                  </a:lnTo>
                  <a:lnTo>
                    <a:pt x="236" y="154"/>
                  </a:lnTo>
                  <a:lnTo>
                    <a:pt x="276" y="219"/>
                  </a:lnTo>
                  <a:lnTo>
                    <a:pt x="368" y="172"/>
                  </a:lnTo>
                  <a:lnTo>
                    <a:pt x="382" y="99"/>
                  </a:lnTo>
                  <a:lnTo>
                    <a:pt x="446" y="74"/>
                  </a:lnTo>
                  <a:lnTo>
                    <a:pt x="419" y="7"/>
                  </a:lnTo>
                  <a:lnTo>
                    <a:pt x="359" y="40"/>
                  </a:lnTo>
                  <a:lnTo>
                    <a:pt x="297" y="0"/>
                  </a:lnTo>
                  <a:lnTo>
                    <a:pt x="236" y="6"/>
                  </a:lnTo>
                  <a:lnTo>
                    <a:pt x="165" y="26"/>
                  </a:lnTo>
                  <a:lnTo>
                    <a:pt x="82" y="64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54" name="Freeform 147">
              <a:extLst>
                <a:ext uri="{FF2B5EF4-FFF2-40B4-BE49-F238E27FC236}">
                  <a16:creationId xmlns:a16="http://schemas.microsoft.com/office/drawing/2014/main" id="{BA78E61D-1EE5-4F5C-93E6-1C59FB6D54E5}"/>
                </a:ext>
              </a:extLst>
            </p:cNvPr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4233920" y="2596680"/>
              <a:ext cx="152313" cy="106011"/>
            </a:xfrm>
            <a:custGeom>
              <a:avLst/>
              <a:gdLst/>
              <a:ahLst/>
              <a:cxnLst>
                <a:cxn ang="0">
                  <a:pos x="0" y="174"/>
                </a:cxn>
                <a:cxn ang="0">
                  <a:pos x="54" y="227"/>
                </a:cxn>
                <a:cxn ang="0">
                  <a:pos x="90" y="280"/>
                </a:cxn>
                <a:cxn ang="0">
                  <a:pos x="160" y="250"/>
                </a:cxn>
                <a:cxn ang="0">
                  <a:pos x="180" y="331"/>
                </a:cxn>
                <a:cxn ang="0">
                  <a:pos x="105" y="342"/>
                </a:cxn>
                <a:cxn ang="0">
                  <a:pos x="112" y="391"/>
                </a:cxn>
                <a:cxn ang="0">
                  <a:pos x="167" y="432"/>
                </a:cxn>
                <a:cxn ang="0">
                  <a:pos x="229" y="431"/>
                </a:cxn>
                <a:cxn ang="0">
                  <a:pos x="296" y="400"/>
                </a:cxn>
                <a:cxn ang="0">
                  <a:pos x="366" y="383"/>
                </a:cxn>
                <a:cxn ang="0">
                  <a:pos x="466" y="426"/>
                </a:cxn>
                <a:cxn ang="0">
                  <a:pos x="531" y="428"/>
                </a:cxn>
                <a:cxn ang="0">
                  <a:pos x="563" y="347"/>
                </a:cxn>
                <a:cxn ang="0">
                  <a:pos x="598" y="276"/>
                </a:cxn>
                <a:cxn ang="0">
                  <a:pos x="545" y="229"/>
                </a:cxn>
                <a:cxn ang="0">
                  <a:pos x="493" y="147"/>
                </a:cxn>
                <a:cxn ang="0">
                  <a:pos x="496" y="51"/>
                </a:cxn>
                <a:cxn ang="0">
                  <a:pos x="446" y="79"/>
                </a:cxn>
                <a:cxn ang="0">
                  <a:pos x="391" y="130"/>
                </a:cxn>
                <a:cxn ang="0">
                  <a:pos x="422" y="172"/>
                </a:cxn>
                <a:cxn ang="0">
                  <a:pos x="393" y="218"/>
                </a:cxn>
                <a:cxn ang="0">
                  <a:pos x="402" y="291"/>
                </a:cxn>
                <a:cxn ang="0">
                  <a:pos x="313" y="244"/>
                </a:cxn>
                <a:cxn ang="0">
                  <a:pos x="312" y="170"/>
                </a:cxn>
                <a:cxn ang="0">
                  <a:pos x="297" y="110"/>
                </a:cxn>
                <a:cxn ang="0">
                  <a:pos x="248" y="37"/>
                </a:cxn>
                <a:cxn ang="0">
                  <a:pos x="192" y="0"/>
                </a:cxn>
                <a:cxn ang="0">
                  <a:pos x="136" y="47"/>
                </a:cxn>
                <a:cxn ang="0">
                  <a:pos x="0" y="174"/>
                </a:cxn>
              </a:cxnLst>
              <a:rect l="0" t="0" r="r" b="b"/>
              <a:pathLst>
                <a:path w="598" h="432">
                  <a:moveTo>
                    <a:pt x="0" y="174"/>
                  </a:moveTo>
                  <a:lnTo>
                    <a:pt x="54" y="227"/>
                  </a:lnTo>
                  <a:lnTo>
                    <a:pt x="90" y="280"/>
                  </a:lnTo>
                  <a:lnTo>
                    <a:pt x="160" y="250"/>
                  </a:lnTo>
                  <a:lnTo>
                    <a:pt x="180" y="331"/>
                  </a:lnTo>
                  <a:lnTo>
                    <a:pt x="105" y="342"/>
                  </a:lnTo>
                  <a:lnTo>
                    <a:pt x="112" y="391"/>
                  </a:lnTo>
                  <a:lnTo>
                    <a:pt x="167" y="432"/>
                  </a:lnTo>
                  <a:lnTo>
                    <a:pt x="229" y="431"/>
                  </a:lnTo>
                  <a:lnTo>
                    <a:pt x="296" y="400"/>
                  </a:lnTo>
                  <a:lnTo>
                    <a:pt x="366" y="383"/>
                  </a:lnTo>
                  <a:lnTo>
                    <a:pt x="466" y="426"/>
                  </a:lnTo>
                  <a:lnTo>
                    <a:pt x="531" y="428"/>
                  </a:lnTo>
                  <a:lnTo>
                    <a:pt x="563" y="347"/>
                  </a:lnTo>
                  <a:lnTo>
                    <a:pt x="598" y="276"/>
                  </a:lnTo>
                  <a:lnTo>
                    <a:pt x="545" y="229"/>
                  </a:lnTo>
                  <a:lnTo>
                    <a:pt x="493" y="147"/>
                  </a:lnTo>
                  <a:lnTo>
                    <a:pt x="496" y="51"/>
                  </a:lnTo>
                  <a:lnTo>
                    <a:pt x="446" y="79"/>
                  </a:lnTo>
                  <a:lnTo>
                    <a:pt x="391" y="130"/>
                  </a:lnTo>
                  <a:lnTo>
                    <a:pt x="422" y="172"/>
                  </a:lnTo>
                  <a:lnTo>
                    <a:pt x="393" y="218"/>
                  </a:lnTo>
                  <a:lnTo>
                    <a:pt x="402" y="291"/>
                  </a:lnTo>
                  <a:lnTo>
                    <a:pt x="313" y="244"/>
                  </a:lnTo>
                  <a:lnTo>
                    <a:pt x="312" y="170"/>
                  </a:lnTo>
                  <a:lnTo>
                    <a:pt x="297" y="110"/>
                  </a:lnTo>
                  <a:lnTo>
                    <a:pt x="248" y="37"/>
                  </a:lnTo>
                  <a:lnTo>
                    <a:pt x="192" y="0"/>
                  </a:lnTo>
                  <a:lnTo>
                    <a:pt x="136" y="47"/>
                  </a:lnTo>
                  <a:lnTo>
                    <a:pt x="0" y="174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55" name="Freeform 149">
              <a:extLst>
                <a:ext uri="{FF2B5EF4-FFF2-40B4-BE49-F238E27FC236}">
                  <a16:creationId xmlns:a16="http://schemas.microsoft.com/office/drawing/2014/main" id="{D53F5F17-CFB8-4AE8-AFB3-6AFFD9F8239F}"/>
                </a:ext>
              </a:extLst>
            </p:cNvPr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4125473" y="2740464"/>
              <a:ext cx="270509" cy="257106"/>
            </a:xfrm>
            <a:custGeom>
              <a:avLst/>
              <a:gdLst/>
              <a:ahLst/>
              <a:cxnLst>
                <a:cxn ang="0">
                  <a:pos x="32" y="196"/>
                </a:cxn>
                <a:cxn ang="0">
                  <a:pos x="80" y="273"/>
                </a:cxn>
                <a:cxn ang="0">
                  <a:pos x="32" y="323"/>
                </a:cxn>
                <a:cxn ang="0">
                  <a:pos x="65" y="403"/>
                </a:cxn>
                <a:cxn ang="0">
                  <a:pos x="157" y="463"/>
                </a:cxn>
                <a:cxn ang="0">
                  <a:pos x="245" y="495"/>
                </a:cxn>
                <a:cxn ang="0">
                  <a:pos x="305" y="579"/>
                </a:cxn>
                <a:cxn ang="0">
                  <a:pos x="205" y="592"/>
                </a:cxn>
                <a:cxn ang="0">
                  <a:pos x="112" y="552"/>
                </a:cxn>
                <a:cxn ang="0">
                  <a:pos x="31" y="526"/>
                </a:cxn>
                <a:cxn ang="0">
                  <a:pos x="0" y="647"/>
                </a:cxn>
                <a:cxn ang="0">
                  <a:pos x="59" y="728"/>
                </a:cxn>
                <a:cxn ang="0">
                  <a:pos x="151" y="767"/>
                </a:cxn>
                <a:cxn ang="0">
                  <a:pos x="145" y="907"/>
                </a:cxn>
                <a:cxn ang="0">
                  <a:pos x="245" y="932"/>
                </a:cxn>
                <a:cxn ang="0">
                  <a:pos x="364" y="954"/>
                </a:cxn>
                <a:cxn ang="0">
                  <a:pos x="488" y="941"/>
                </a:cxn>
                <a:cxn ang="0">
                  <a:pos x="587" y="936"/>
                </a:cxn>
                <a:cxn ang="0">
                  <a:pos x="678" y="893"/>
                </a:cxn>
                <a:cxn ang="0">
                  <a:pos x="722" y="976"/>
                </a:cxn>
                <a:cxn ang="0">
                  <a:pos x="794" y="1051"/>
                </a:cxn>
                <a:cxn ang="0">
                  <a:pos x="887" y="1044"/>
                </a:cxn>
                <a:cxn ang="0">
                  <a:pos x="974" y="1001"/>
                </a:cxn>
                <a:cxn ang="0">
                  <a:pos x="953" y="923"/>
                </a:cxn>
                <a:cxn ang="0">
                  <a:pos x="1035" y="922"/>
                </a:cxn>
                <a:cxn ang="0">
                  <a:pos x="1062" y="834"/>
                </a:cxn>
                <a:cxn ang="0">
                  <a:pos x="961" y="778"/>
                </a:cxn>
                <a:cxn ang="0">
                  <a:pos x="881" y="706"/>
                </a:cxn>
                <a:cxn ang="0">
                  <a:pos x="834" y="618"/>
                </a:cxn>
                <a:cxn ang="0">
                  <a:pos x="873" y="509"/>
                </a:cxn>
                <a:cxn ang="0">
                  <a:pos x="865" y="398"/>
                </a:cxn>
                <a:cxn ang="0">
                  <a:pos x="866" y="313"/>
                </a:cxn>
                <a:cxn ang="0">
                  <a:pos x="936" y="236"/>
                </a:cxn>
                <a:cxn ang="0">
                  <a:pos x="980" y="172"/>
                </a:cxn>
                <a:cxn ang="0">
                  <a:pos x="949" y="107"/>
                </a:cxn>
                <a:cxn ang="0">
                  <a:pos x="862" y="90"/>
                </a:cxn>
                <a:cxn ang="0">
                  <a:pos x="789" y="172"/>
                </a:cxn>
                <a:cxn ang="0">
                  <a:pos x="728" y="256"/>
                </a:cxn>
                <a:cxn ang="0">
                  <a:pos x="660" y="165"/>
                </a:cxn>
                <a:cxn ang="0">
                  <a:pos x="583" y="169"/>
                </a:cxn>
                <a:cxn ang="0">
                  <a:pos x="539" y="104"/>
                </a:cxn>
                <a:cxn ang="0">
                  <a:pos x="441" y="143"/>
                </a:cxn>
                <a:cxn ang="0">
                  <a:pos x="463" y="26"/>
                </a:cxn>
                <a:cxn ang="0">
                  <a:pos x="402" y="0"/>
                </a:cxn>
                <a:cxn ang="0">
                  <a:pos x="331" y="29"/>
                </a:cxn>
                <a:cxn ang="0">
                  <a:pos x="250" y="31"/>
                </a:cxn>
                <a:cxn ang="0">
                  <a:pos x="174" y="50"/>
                </a:cxn>
                <a:cxn ang="0">
                  <a:pos x="150" y="99"/>
                </a:cxn>
                <a:cxn ang="0">
                  <a:pos x="80" y="124"/>
                </a:cxn>
                <a:cxn ang="0">
                  <a:pos x="32" y="196"/>
                </a:cxn>
              </a:cxnLst>
              <a:rect l="0" t="0" r="r" b="b"/>
              <a:pathLst>
                <a:path w="1062" h="1051">
                  <a:moveTo>
                    <a:pt x="32" y="196"/>
                  </a:moveTo>
                  <a:lnTo>
                    <a:pt x="80" y="273"/>
                  </a:lnTo>
                  <a:lnTo>
                    <a:pt x="32" y="323"/>
                  </a:lnTo>
                  <a:lnTo>
                    <a:pt x="65" y="403"/>
                  </a:lnTo>
                  <a:lnTo>
                    <a:pt x="157" y="463"/>
                  </a:lnTo>
                  <a:lnTo>
                    <a:pt x="245" y="495"/>
                  </a:lnTo>
                  <a:lnTo>
                    <a:pt x="305" y="579"/>
                  </a:lnTo>
                  <a:lnTo>
                    <a:pt x="205" y="592"/>
                  </a:lnTo>
                  <a:lnTo>
                    <a:pt x="112" y="552"/>
                  </a:lnTo>
                  <a:lnTo>
                    <a:pt x="31" y="526"/>
                  </a:lnTo>
                  <a:lnTo>
                    <a:pt x="0" y="647"/>
                  </a:lnTo>
                  <a:lnTo>
                    <a:pt x="59" y="728"/>
                  </a:lnTo>
                  <a:lnTo>
                    <a:pt x="151" y="767"/>
                  </a:lnTo>
                  <a:lnTo>
                    <a:pt x="145" y="907"/>
                  </a:lnTo>
                  <a:lnTo>
                    <a:pt x="245" y="932"/>
                  </a:lnTo>
                  <a:lnTo>
                    <a:pt x="364" y="954"/>
                  </a:lnTo>
                  <a:lnTo>
                    <a:pt x="488" y="941"/>
                  </a:lnTo>
                  <a:lnTo>
                    <a:pt x="587" y="936"/>
                  </a:lnTo>
                  <a:lnTo>
                    <a:pt x="678" y="893"/>
                  </a:lnTo>
                  <a:lnTo>
                    <a:pt x="722" y="976"/>
                  </a:lnTo>
                  <a:lnTo>
                    <a:pt x="794" y="1051"/>
                  </a:lnTo>
                  <a:lnTo>
                    <a:pt x="887" y="1044"/>
                  </a:lnTo>
                  <a:lnTo>
                    <a:pt x="974" y="1001"/>
                  </a:lnTo>
                  <a:lnTo>
                    <a:pt x="953" y="923"/>
                  </a:lnTo>
                  <a:lnTo>
                    <a:pt x="1035" y="922"/>
                  </a:lnTo>
                  <a:lnTo>
                    <a:pt x="1062" y="834"/>
                  </a:lnTo>
                  <a:lnTo>
                    <a:pt x="961" y="778"/>
                  </a:lnTo>
                  <a:lnTo>
                    <a:pt x="881" y="706"/>
                  </a:lnTo>
                  <a:lnTo>
                    <a:pt x="834" y="618"/>
                  </a:lnTo>
                  <a:lnTo>
                    <a:pt x="873" y="509"/>
                  </a:lnTo>
                  <a:lnTo>
                    <a:pt x="865" y="398"/>
                  </a:lnTo>
                  <a:lnTo>
                    <a:pt x="866" y="313"/>
                  </a:lnTo>
                  <a:lnTo>
                    <a:pt x="936" y="236"/>
                  </a:lnTo>
                  <a:lnTo>
                    <a:pt x="980" y="172"/>
                  </a:lnTo>
                  <a:lnTo>
                    <a:pt x="949" y="107"/>
                  </a:lnTo>
                  <a:lnTo>
                    <a:pt x="862" y="90"/>
                  </a:lnTo>
                  <a:lnTo>
                    <a:pt x="789" y="172"/>
                  </a:lnTo>
                  <a:lnTo>
                    <a:pt x="728" y="256"/>
                  </a:lnTo>
                  <a:lnTo>
                    <a:pt x="660" y="165"/>
                  </a:lnTo>
                  <a:lnTo>
                    <a:pt x="583" y="169"/>
                  </a:lnTo>
                  <a:lnTo>
                    <a:pt x="539" y="104"/>
                  </a:lnTo>
                  <a:lnTo>
                    <a:pt x="441" y="143"/>
                  </a:lnTo>
                  <a:lnTo>
                    <a:pt x="463" y="26"/>
                  </a:lnTo>
                  <a:lnTo>
                    <a:pt x="402" y="0"/>
                  </a:lnTo>
                  <a:lnTo>
                    <a:pt x="331" y="29"/>
                  </a:lnTo>
                  <a:lnTo>
                    <a:pt x="250" y="31"/>
                  </a:lnTo>
                  <a:lnTo>
                    <a:pt x="174" y="50"/>
                  </a:lnTo>
                  <a:lnTo>
                    <a:pt x="150" y="99"/>
                  </a:lnTo>
                  <a:lnTo>
                    <a:pt x="80" y="124"/>
                  </a:lnTo>
                  <a:lnTo>
                    <a:pt x="32" y="196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56" name="Freeform 151">
              <a:extLst>
                <a:ext uri="{FF2B5EF4-FFF2-40B4-BE49-F238E27FC236}">
                  <a16:creationId xmlns:a16="http://schemas.microsoft.com/office/drawing/2014/main" id="{443EA3E0-7B9B-4712-9535-D93B06FD6FE5}"/>
                </a:ext>
              </a:extLst>
            </p:cNvPr>
            <p:cNvSpPr>
              <a:spLocks/>
            </p:cNvSpPr>
            <p:nvPr>
              <p:custDataLst>
                <p:tags r:id="rId95"/>
              </p:custDataLst>
            </p:nvPr>
          </p:nvSpPr>
          <p:spPr bwMode="auto">
            <a:xfrm>
              <a:off x="4059673" y="2645420"/>
              <a:ext cx="166937" cy="138910"/>
            </a:xfrm>
            <a:custGeom>
              <a:avLst/>
              <a:gdLst/>
              <a:ahLst/>
              <a:cxnLst>
                <a:cxn ang="0">
                  <a:pos x="0" y="307"/>
                </a:cxn>
                <a:cxn ang="0">
                  <a:pos x="28" y="424"/>
                </a:cxn>
                <a:cxn ang="0">
                  <a:pos x="6" y="549"/>
                </a:cxn>
                <a:cxn ang="0">
                  <a:pos x="105" y="550"/>
                </a:cxn>
                <a:cxn ang="0">
                  <a:pos x="177" y="572"/>
                </a:cxn>
                <a:cxn ang="0">
                  <a:pos x="274" y="513"/>
                </a:cxn>
                <a:cxn ang="0">
                  <a:pos x="360" y="407"/>
                </a:cxn>
                <a:cxn ang="0">
                  <a:pos x="557" y="370"/>
                </a:cxn>
                <a:cxn ang="0">
                  <a:pos x="654" y="350"/>
                </a:cxn>
                <a:cxn ang="0">
                  <a:pos x="607" y="255"/>
                </a:cxn>
                <a:cxn ang="0">
                  <a:pos x="595" y="157"/>
                </a:cxn>
                <a:cxn ang="0">
                  <a:pos x="508" y="111"/>
                </a:cxn>
                <a:cxn ang="0">
                  <a:pos x="450" y="22"/>
                </a:cxn>
                <a:cxn ang="0">
                  <a:pos x="356" y="23"/>
                </a:cxn>
                <a:cxn ang="0">
                  <a:pos x="259" y="0"/>
                </a:cxn>
                <a:cxn ang="0">
                  <a:pos x="227" y="118"/>
                </a:cxn>
                <a:cxn ang="0">
                  <a:pos x="160" y="197"/>
                </a:cxn>
                <a:cxn ang="0">
                  <a:pos x="0" y="307"/>
                </a:cxn>
              </a:cxnLst>
              <a:rect l="0" t="0" r="r" b="b"/>
              <a:pathLst>
                <a:path w="654" h="572">
                  <a:moveTo>
                    <a:pt x="0" y="307"/>
                  </a:moveTo>
                  <a:lnTo>
                    <a:pt x="28" y="424"/>
                  </a:lnTo>
                  <a:lnTo>
                    <a:pt x="6" y="549"/>
                  </a:lnTo>
                  <a:lnTo>
                    <a:pt x="105" y="550"/>
                  </a:lnTo>
                  <a:lnTo>
                    <a:pt x="177" y="572"/>
                  </a:lnTo>
                  <a:lnTo>
                    <a:pt x="274" y="513"/>
                  </a:lnTo>
                  <a:lnTo>
                    <a:pt x="360" y="407"/>
                  </a:lnTo>
                  <a:lnTo>
                    <a:pt x="557" y="370"/>
                  </a:lnTo>
                  <a:lnTo>
                    <a:pt x="654" y="350"/>
                  </a:lnTo>
                  <a:lnTo>
                    <a:pt x="607" y="255"/>
                  </a:lnTo>
                  <a:lnTo>
                    <a:pt x="595" y="157"/>
                  </a:lnTo>
                  <a:lnTo>
                    <a:pt x="508" y="111"/>
                  </a:lnTo>
                  <a:lnTo>
                    <a:pt x="450" y="22"/>
                  </a:lnTo>
                  <a:lnTo>
                    <a:pt x="356" y="23"/>
                  </a:lnTo>
                  <a:lnTo>
                    <a:pt x="259" y="0"/>
                  </a:lnTo>
                  <a:lnTo>
                    <a:pt x="227" y="118"/>
                  </a:lnTo>
                  <a:lnTo>
                    <a:pt x="160" y="197"/>
                  </a:lnTo>
                  <a:lnTo>
                    <a:pt x="0" y="307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57" name="Freeform 153">
              <a:extLst>
                <a:ext uri="{FF2B5EF4-FFF2-40B4-BE49-F238E27FC236}">
                  <a16:creationId xmlns:a16="http://schemas.microsoft.com/office/drawing/2014/main" id="{BC1B637B-C422-42E6-9699-68E052BADF0C}"/>
                </a:ext>
              </a:extLst>
            </p:cNvPr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3824501" y="2719749"/>
              <a:ext cx="7311" cy="21933"/>
            </a:xfrm>
            <a:custGeom>
              <a:avLst/>
              <a:gdLst/>
              <a:ahLst/>
              <a:cxnLst>
                <a:cxn ang="0">
                  <a:pos x="21" y="0"/>
                </a:cxn>
                <a:cxn ang="0">
                  <a:pos x="3" y="17"/>
                </a:cxn>
                <a:cxn ang="0">
                  <a:pos x="0" y="41"/>
                </a:cxn>
                <a:cxn ang="0">
                  <a:pos x="13" y="92"/>
                </a:cxn>
                <a:cxn ang="0">
                  <a:pos x="27" y="92"/>
                </a:cxn>
                <a:cxn ang="0">
                  <a:pos x="30" y="6"/>
                </a:cxn>
                <a:cxn ang="0">
                  <a:pos x="21" y="0"/>
                </a:cxn>
              </a:cxnLst>
              <a:rect l="0" t="0" r="r" b="b"/>
              <a:pathLst>
                <a:path w="30" h="92">
                  <a:moveTo>
                    <a:pt x="21" y="0"/>
                  </a:moveTo>
                  <a:lnTo>
                    <a:pt x="3" y="17"/>
                  </a:lnTo>
                  <a:lnTo>
                    <a:pt x="0" y="41"/>
                  </a:lnTo>
                  <a:lnTo>
                    <a:pt x="13" y="92"/>
                  </a:lnTo>
                  <a:lnTo>
                    <a:pt x="27" y="92"/>
                  </a:lnTo>
                  <a:lnTo>
                    <a:pt x="30" y="6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58" name="Freeform 154">
              <a:extLst>
                <a:ext uri="{FF2B5EF4-FFF2-40B4-BE49-F238E27FC236}">
                  <a16:creationId xmlns:a16="http://schemas.microsoft.com/office/drawing/2014/main" id="{0F2DC671-E29B-4BB9-B7C8-F2500AA9E1A4}"/>
                </a:ext>
              </a:extLst>
            </p:cNvPr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3824501" y="2719749"/>
              <a:ext cx="7311" cy="21933"/>
            </a:xfrm>
            <a:custGeom>
              <a:avLst/>
              <a:gdLst/>
              <a:ahLst/>
              <a:cxnLst>
                <a:cxn ang="0">
                  <a:pos x="21" y="0"/>
                </a:cxn>
                <a:cxn ang="0">
                  <a:pos x="3" y="17"/>
                </a:cxn>
                <a:cxn ang="0">
                  <a:pos x="0" y="41"/>
                </a:cxn>
                <a:cxn ang="0">
                  <a:pos x="13" y="92"/>
                </a:cxn>
                <a:cxn ang="0">
                  <a:pos x="27" y="92"/>
                </a:cxn>
                <a:cxn ang="0">
                  <a:pos x="30" y="6"/>
                </a:cxn>
                <a:cxn ang="0">
                  <a:pos x="21" y="0"/>
                </a:cxn>
              </a:cxnLst>
              <a:rect l="0" t="0" r="r" b="b"/>
              <a:pathLst>
                <a:path w="30" h="92">
                  <a:moveTo>
                    <a:pt x="21" y="0"/>
                  </a:moveTo>
                  <a:lnTo>
                    <a:pt x="3" y="17"/>
                  </a:lnTo>
                  <a:lnTo>
                    <a:pt x="0" y="41"/>
                  </a:lnTo>
                  <a:lnTo>
                    <a:pt x="13" y="92"/>
                  </a:lnTo>
                  <a:lnTo>
                    <a:pt x="27" y="92"/>
                  </a:lnTo>
                  <a:lnTo>
                    <a:pt x="30" y="6"/>
                  </a:lnTo>
                  <a:lnTo>
                    <a:pt x="21" y="0"/>
                  </a:lnTo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59" name="Freeform 155">
              <a:extLst>
                <a:ext uri="{FF2B5EF4-FFF2-40B4-BE49-F238E27FC236}">
                  <a16:creationId xmlns:a16="http://schemas.microsoft.com/office/drawing/2014/main" id="{6CC435EF-082B-40CB-8EF8-98E6CED31969}"/>
                </a:ext>
              </a:extLst>
            </p:cNvPr>
            <p:cNvSpPr>
              <a:spLocks/>
            </p:cNvSpPr>
            <p:nvPr>
              <p:custDataLst>
                <p:tags r:id="rId98"/>
              </p:custDataLst>
            </p:nvPr>
          </p:nvSpPr>
          <p:spPr bwMode="auto">
            <a:xfrm>
              <a:off x="3834250" y="2717312"/>
              <a:ext cx="31682" cy="24370"/>
            </a:xfrm>
            <a:custGeom>
              <a:avLst/>
              <a:gdLst/>
              <a:ahLst/>
              <a:cxnLst>
                <a:cxn ang="0">
                  <a:pos x="41" y="27"/>
                </a:cxn>
                <a:cxn ang="0">
                  <a:pos x="52" y="35"/>
                </a:cxn>
                <a:cxn ang="0">
                  <a:pos x="55" y="17"/>
                </a:cxn>
                <a:cxn ang="0">
                  <a:pos x="79" y="41"/>
                </a:cxn>
                <a:cxn ang="0">
                  <a:pos x="90" y="35"/>
                </a:cxn>
                <a:cxn ang="0">
                  <a:pos x="79" y="27"/>
                </a:cxn>
                <a:cxn ang="0">
                  <a:pos x="107" y="17"/>
                </a:cxn>
                <a:cxn ang="0">
                  <a:pos x="113" y="0"/>
                </a:cxn>
                <a:cxn ang="0">
                  <a:pos x="120" y="0"/>
                </a:cxn>
                <a:cxn ang="0">
                  <a:pos x="107" y="41"/>
                </a:cxn>
                <a:cxn ang="0">
                  <a:pos x="127" y="58"/>
                </a:cxn>
                <a:cxn ang="0">
                  <a:pos x="107" y="72"/>
                </a:cxn>
                <a:cxn ang="0">
                  <a:pos x="13" y="96"/>
                </a:cxn>
                <a:cxn ang="0">
                  <a:pos x="0" y="76"/>
                </a:cxn>
                <a:cxn ang="0">
                  <a:pos x="13" y="79"/>
                </a:cxn>
                <a:cxn ang="0">
                  <a:pos x="17" y="72"/>
                </a:cxn>
                <a:cxn ang="0">
                  <a:pos x="13" y="52"/>
                </a:cxn>
                <a:cxn ang="0">
                  <a:pos x="30" y="7"/>
                </a:cxn>
                <a:cxn ang="0">
                  <a:pos x="41" y="27"/>
                </a:cxn>
              </a:cxnLst>
              <a:rect l="0" t="0" r="r" b="b"/>
              <a:pathLst>
                <a:path w="127" h="96">
                  <a:moveTo>
                    <a:pt x="41" y="27"/>
                  </a:moveTo>
                  <a:lnTo>
                    <a:pt x="52" y="35"/>
                  </a:lnTo>
                  <a:lnTo>
                    <a:pt x="55" y="17"/>
                  </a:lnTo>
                  <a:lnTo>
                    <a:pt x="79" y="41"/>
                  </a:lnTo>
                  <a:lnTo>
                    <a:pt x="90" y="35"/>
                  </a:lnTo>
                  <a:lnTo>
                    <a:pt x="79" y="27"/>
                  </a:lnTo>
                  <a:lnTo>
                    <a:pt x="107" y="17"/>
                  </a:lnTo>
                  <a:lnTo>
                    <a:pt x="113" y="0"/>
                  </a:lnTo>
                  <a:lnTo>
                    <a:pt x="120" y="0"/>
                  </a:lnTo>
                  <a:lnTo>
                    <a:pt x="107" y="41"/>
                  </a:lnTo>
                  <a:lnTo>
                    <a:pt x="127" y="58"/>
                  </a:lnTo>
                  <a:lnTo>
                    <a:pt x="107" y="72"/>
                  </a:lnTo>
                  <a:lnTo>
                    <a:pt x="13" y="96"/>
                  </a:lnTo>
                  <a:lnTo>
                    <a:pt x="0" y="76"/>
                  </a:lnTo>
                  <a:lnTo>
                    <a:pt x="13" y="79"/>
                  </a:lnTo>
                  <a:lnTo>
                    <a:pt x="17" y="72"/>
                  </a:lnTo>
                  <a:lnTo>
                    <a:pt x="13" y="52"/>
                  </a:lnTo>
                  <a:lnTo>
                    <a:pt x="30" y="7"/>
                  </a:lnTo>
                  <a:lnTo>
                    <a:pt x="41" y="27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0" name="Freeform 165">
              <a:extLst>
                <a:ext uri="{FF2B5EF4-FFF2-40B4-BE49-F238E27FC236}">
                  <a16:creationId xmlns:a16="http://schemas.microsoft.com/office/drawing/2014/main" id="{57A12920-A89D-40DA-A281-2F01FC70F5A8}"/>
                </a:ext>
              </a:extLst>
            </p:cNvPr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4773721" y="5741656"/>
              <a:ext cx="51178" cy="46303"/>
            </a:xfrm>
            <a:custGeom>
              <a:avLst/>
              <a:gdLst/>
              <a:ahLst/>
              <a:cxnLst>
                <a:cxn ang="0">
                  <a:pos x="52" y="0"/>
                </a:cxn>
                <a:cxn ang="0">
                  <a:pos x="169" y="94"/>
                </a:cxn>
                <a:cxn ang="0">
                  <a:pos x="197" y="132"/>
                </a:cxn>
                <a:cxn ang="0">
                  <a:pos x="203" y="190"/>
                </a:cxn>
                <a:cxn ang="0">
                  <a:pos x="131" y="187"/>
                </a:cxn>
                <a:cxn ang="0">
                  <a:pos x="55" y="149"/>
                </a:cxn>
                <a:cxn ang="0">
                  <a:pos x="14" y="80"/>
                </a:cxn>
                <a:cxn ang="0">
                  <a:pos x="0" y="0"/>
                </a:cxn>
                <a:cxn ang="0">
                  <a:pos x="52" y="0"/>
                </a:cxn>
              </a:cxnLst>
              <a:rect l="0" t="0" r="r" b="b"/>
              <a:pathLst>
                <a:path w="203" h="190">
                  <a:moveTo>
                    <a:pt x="52" y="0"/>
                  </a:moveTo>
                  <a:lnTo>
                    <a:pt x="169" y="94"/>
                  </a:lnTo>
                  <a:lnTo>
                    <a:pt x="197" y="132"/>
                  </a:lnTo>
                  <a:lnTo>
                    <a:pt x="203" y="190"/>
                  </a:lnTo>
                  <a:lnTo>
                    <a:pt x="131" y="187"/>
                  </a:lnTo>
                  <a:lnTo>
                    <a:pt x="55" y="149"/>
                  </a:lnTo>
                  <a:lnTo>
                    <a:pt x="14" y="80"/>
                  </a:lnTo>
                  <a:lnTo>
                    <a:pt x="0" y="0"/>
                  </a:lnTo>
                  <a:lnTo>
                    <a:pt x="52" y="0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1" name="Freeform 166">
              <a:extLst>
                <a:ext uri="{FF2B5EF4-FFF2-40B4-BE49-F238E27FC236}">
                  <a16:creationId xmlns:a16="http://schemas.microsoft.com/office/drawing/2014/main" id="{8ECA5FFA-1C03-4745-92B1-0B858977C0DE}"/>
                </a:ext>
              </a:extLst>
            </p:cNvPr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4773721" y="5741656"/>
              <a:ext cx="51178" cy="46303"/>
            </a:xfrm>
            <a:custGeom>
              <a:avLst/>
              <a:gdLst/>
              <a:ahLst/>
              <a:cxnLst>
                <a:cxn ang="0">
                  <a:pos x="52" y="0"/>
                </a:cxn>
                <a:cxn ang="0">
                  <a:pos x="169" y="94"/>
                </a:cxn>
                <a:cxn ang="0">
                  <a:pos x="197" y="132"/>
                </a:cxn>
                <a:cxn ang="0">
                  <a:pos x="203" y="190"/>
                </a:cxn>
                <a:cxn ang="0">
                  <a:pos x="131" y="187"/>
                </a:cxn>
                <a:cxn ang="0">
                  <a:pos x="55" y="149"/>
                </a:cxn>
                <a:cxn ang="0">
                  <a:pos x="14" y="80"/>
                </a:cxn>
                <a:cxn ang="0">
                  <a:pos x="0" y="0"/>
                </a:cxn>
                <a:cxn ang="0">
                  <a:pos x="52" y="0"/>
                </a:cxn>
              </a:cxnLst>
              <a:rect l="0" t="0" r="r" b="b"/>
              <a:pathLst>
                <a:path w="203" h="190">
                  <a:moveTo>
                    <a:pt x="52" y="0"/>
                  </a:moveTo>
                  <a:lnTo>
                    <a:pt x="169" y="94"/>
                  </a:lnTo>
                  <a:lnTo>
                    <a:pt x="197" y="132"/>
                  </a:lnTo>
                  <a:lnTo>
                    <a:pt x="203" y="190"/>
                  </a:lnTo>
                  <a:lnTo>
                    <a:pt x="131" y="187"/>
                  </a:lnTo>
                  <a:lnTo>
                    <a:pt x="55" y="149"/>
                  </a:lnTo>
                  <a:lnTo>
                    <a:pt x="14" y="80"/>
                  </a:lnTo>
                  <a:lnTo>
                    <a:pt x="0" y="0"/>
                  </a:lnTo>
                  <a:lnTo>
                    <a:pt x="52" y="0"/>
                  </a:lnTo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2" name="Freeform 169">
              <a:extLst>
                <a:ext uri="{FF2B5EF4-FFF2-40B4-BE49-F238E27FC236}">
                  <a16:creationId xmlns:a16="http://schemas.microsoft.com/office/drawing/2014/main" id="{C175A480-D2C1-4A91-B995-B1CBBB51C2F6}"/>
                </a:ext>
              </a:extLst>
            </p:cNvPr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5069820" y="5012987"/>
              <a:ext cx="47522" cy="14622"/>
            </a:xfrm>
            <a:custGeom>
              <a:avLst/>
              <a:gdLst/>
              <a:ahLst/>
              <a:cxnLst>
                <a:cxn ang="0">
                  <a:pos x="158" y="0"/>
                </a:cxn>
                <a:cxn ang="0">
                  <a:pos x="189" y="48"/>
                </a:cxn>
                <a:cxn ang="0">
                  <a:pos x="151" y="23"/>
                </a:cxn>
                <a:cxn ang="0">
                  <a:pos x="55" y="62"/>
                </a:cxn>
                <a:cxn ang="0">
                  <a:pos x="13" y="62"/>
                </a:cxn>
                <a:cxn ang="0">
                  <a:pos x="0" y="41"/>
                </a:cxn>
                <a:cxn ang="0">
                  <a:pos x="113" y="0"/>
                </a:cxn>
                <a:cxn ang="0">
                  <a:pos x="158" y="0"/>
                </a:cxn>
              </a:cxnLst>
              <a:rect l="0" t="0" r="r" b="b"/>
              <a:pathLst>
                <a:path w="189" h="62">
                  <a:moveTo>
                    <a:pt x="158" y="0"/>
                  </a:moveTo>
                  <a:lnTo>
                    <a:pt x="189" y="48"/>
                  </a:lnTo>
                  <a:lnTo>
                    <a:pt x="151" y="23"/>
                  </a:lnTo>
                  <a:lnTo>
                    <a:pt x="55" y="62"/>
                  </a:lnTo>
                  <a:lnTo>
                    <a:pt x="13" y="62"/>
                  </a:lnTo>
                  <a:lnTo>
                    <a:pt x="0" y="41"/>
                  </a:lnTo>
                  <a:lnTo>
                    <a:pt x="113" y="0"/>
                  </a:lnTo>
                  <a:lnTo>
                    <a:pt x="158" y="0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3" name="Freeform 171">
              <a:extLst>
                <a:ext uri="{FF2B5EF4-FFF2-40B4-BE49-F238E27FC236}">
                  <a16:creationId xmlns:a16="http://schemas.microsoft.com/office/drawing/2014/main" id="{D6B7008C-3478-4233-BD06-B79839C9CB43}"/>
                </a:ext>
              </a:extLst>
            </p:cNvPr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5341547" y="5253033"/>
              <a:ext cx="26807" cy="25589"/>
            </a:xfrm>
            <a:custGeom>
              <a:avLst/>
              <a:gdLst/>
              <a:ahLst/>
              <a:cxnLst>
                <a:cxn ang="0">
                  <a:pos x="104" y="0"/>
                </a:cxn>
                <a:cxn ang="0">
                  <a:pos x="101" y="66"/>
                </a:cxn>
                <a:cxn ang="0">
                  <a:pos x="77" y="86"/>
                </a:cxn>
                <a:cxn ang="0">
                  <a:pos x="0" y="103"/>
                </a:cxn>
                <a:cxn ang="0">
                  <a:pos x="0" y="62"/>
                </a:cxn>
                <a:cxn ang="0">
                  <a:pos x="32" y="42"/>
                </a:cxn>
                <a:cxn ang="0">
                  <a:pos x="63" y="48"/>
                </a:cxn>
                <a:cxn ang="0">
                  <a:pos x="104" y="0"/>
                </a:cxn>
              </a:cxnLst>
              <a:rect l="0" t="0" r="r" b="b"/>
              <a:pathLst>
                <a:path w="104" h="103">
                  <a:moveTo>
                    <a:pt x="104" y="0"/>
                  </a:moveTo>
                  <a:lnTo>
                    <a:pt x="101" y="66"/>
                  </a:lnTo>
                  <a:lnTo>
                    <a:pt x="77" y="86"/>
                  </a:lnTo>
                  <a:lnTo>
                    <a:pt x="0" y="103"/>
                  </a:lnTo>
                  <a:lnTo>
                    <a:pt x="0" y="62"/>
                  </a:lnTo>
                  <a:lnTo>
                    <a:pt x="32" y="42"/>
                  </a:lnTo>
                  <a:lnTo>
                    <a:pt x="63" y="48"/>
                  </a:lnTo>
                  <a:lnTo>
                    <a:pt x="104" y="0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4" name="Freeform 173">
              <a:extLst>
                <a:ext uri="{FF2B5EF4-FFF2-40B4-BE49-F238E27FC236}">
                  <a16:creationId xmlns:a16="http://schemas.microsoft.com/office/drawing/2014/main" id="{1B0D9CE4-D7DC-43BF-B496-8231D65326F1}"/>
                </a:ext>
              </a:extLst>
            </p:cNvPr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5357388" y="5201855"/>
              <a:ext cx="18277" cy="4874"/>
            </a:xfrm>
            <a:custGeom>
              <a:avLst/>
              <a:gdLst/>
              <a:ahLst/>
              <a:cxnLst>
                <a:cxn ang="0">
                  <a:pos x="69" y="17"/>
                </a:cxn>
                <a:cxn ang="0">
                  <a:pos x="58" y="0"/>
                </a:cxn>
                <a:cxn ang="0">
                  <a:pos x="0" y="21"/>
                </a:cxn>
                <a:cxn ang="0">
                  <a:pos x="69" y="17"/>
                </a:cxn>
              </a:cxnLst>
              <a:rect l="0" t="0" r="r" b="b"/>
              <a:pathLst>
                <a:path w="69" h="21">
                  <a:moveTo>
                    <a:pt x="69" y="17"/>
                  </a:moveTo>
                  <a:lnTo>
                    <a:pt x="58" y="0"/>
                  </a:lnTo>
                  <a:lnTo>
                    <a:pt x="0" y="21"/>
                  </a:lnTo>
                  <a:lnTo>
                    <a:pt x="69" y="17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5" name="Freeform 175">
              <a:extLst>
                <a:ext uri="{FF2B5EF4-FFF2-40B4-BE49-F238E27FC236}">
                  <a16:creationId xmlns:a16="http://schemas.microsoft.com/office/drawing/2014/main" id="{E2F46E53-9795-403A-9F03-3BE56CD624BF}"/>
                </a:ext>
              </a:extLst>
            </p:cNvPr>
            <p:cNvSpPr>
              <a:spLocks/>
            </p:cNvSpPr>
            <p:nvPr>
              <p:custDataLst>
                <p:tags r:id="rId104"/>
              </p:custDataLst>
            </p:nvPr>
          </p:nvSpPr>
          <p:spPr bwMode="auto">
            <a:xfrm>
              <a:off x="5297681" y="5190889"/>
              <a:ext cx="21933" cy="28025"/>
            </a:xfrm>
            <a:custGeom>
              <a:avLst/>
              <a:gdLst/>
              <a:ahLst/>
              <a:cxnLst>
                <a:cxn ang="0">
                  <a:pos x="59" y="28"/>
                </a:cxn>
                <a:cxn ang="0">
                  <a:pos x="48" y="20"/>
                </a:cxn>
                <a:cxn ang="0">
                  <a:pos x="18" y="17"/>
                </a:cxn>
                <a:cxn ang="0">
                  <a:pos x="0" y="0"/>
                </a:cxn>
                <a:cxn ang="0">
                  <a:pos x="86" y="17"/>
                </a:cxn>
                <a:cxn ang="0">
                  <a:pos x="90" y="48"/>
                </a:cxn>
                <a:cxn ang="0">
                  <a:pos x="38" y="117"/>
                </a:cxn>
                <a:cxn ang="0">
                  <a:pos x="27" y="97"/>
                </a:cxn>
                <a:cxn ang="0">
                  <a:pos x="69" y="45"/>
                </a:cxn>
                <a:cxn ang="0">
                  <a:pos x="59" y="28"/>
                </a:cxn>
              </a:cxnLst>
              <a:rect l="0" t="0" r="r" b="b"/>
              <a:pathLst>
                <a:path w="90" h="117">
                  <a:moveTo>
                    <a:pt x="59" y="28"/>
                  </a:moveTo>
                  <a:lnTo>
                    <a:pt x="48" y="20"/>
                  </a:lnTo>
                  <a:lnTo>
                    <a:pt x="18" y="17"/>
                  </a:lnTo>
                  <a:lnTo>
                    <a:pt x="0" y="0"/>
                  </a:lnTo>
                  <a:lnTo>
                    <a:pt x="86" y="17"/>
                  </a:lnTo>
                  <a:lnTo>
                    <a:pt x="90" y="48"/>
                  </a:lnTo>
                  <a:lnTo>
                    <a:pt x="38" y="117"/>
                  </a:lnTo>
                  <a:lnTo>
                    <a:pt x="27" y="97"/>
                  </a:lnTo>
                  <a:lnTo>
                    <a:pt x="69" y="45"/>
                  </a:lnTo>
                  <a:lnTo>
                    <a:pt x="59" y="28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6" name="Freeform 178">
              <a:extLst>
                <a:ext uri="{FF2B5EF4-FFF2-40B4-BE49-F238E27FC236}">
                  <a16:creationId xmlns:a16="http://schemas.microsoft.com/office/drawing/2014/main" id="{AF67351B-BE0E-445C-82B1-2B82FDD4B41B}"/>
                </a:ext>
              </a:extLst>
            </p:cNvPr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5253814" y="5161645"/>
              <a:ext cx="15841" cy="2437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6" y="99"/>
                </a:cxn>
                <a:cxn ang="0">
                  <a:pos x="31" y="75"/>
                </a:cxn>
                <a:cxn ang="0">
                  <a:pos x="0" y="0"/>
                </a:cxn>
              </a:cxnLst>
              <a:rect l="0" t="0" r="r" b="b"/>
              <a:pathLst>
                <a:path w="66" h="99">
                  <a:moveTo>
                    <a:pt x="0" y="0"/>
                  </a:moveTo>
                  <a:lnTo>
                    <a:pt x="66" y="99"/>
                  </a:lnTo>
                  <a:lnTo>
                    <a:pt x="31" y="75"/>
                  </a:lnTo>
                  <a:lnTo>
                    <a:pt x="0" y="0"/>
                  </a:lnTo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7" name="Freeform 179">
              <a:extLst>
                <a:ext uri="{FF2B5EF4-FFF2-40B4-BE49-F238E27FC236}">
                  <a16:creationId xmlns:a16="http://schemas.microsoft.com/office/drawing/2014/main" id="{D61D0698-DAD1-4717-B271-5A980F3CFA68}"/>
                </a:ext>
              </a:extLst>
            </p:cNvPr>
            <p:cNvSpPr>
              <a:spLocks/>
            </p:cNvSpPr>
            <p:nvPr>
              <p:custDataLst>
                <p:tags r:id="rId106"/>
              </p:custDataLst>
            </p:nvPr>
          </p:nvSpPr>
          <p:spPr bwMode="auto">
            <a:xfrm>
              <a:off x="5283059" y="5125089"/>
              <a:ext cx="4874" cy="9748"/>
            </a:xfrm>
            <a:custGeom>
              <a:avLst/>
              <a:gdLst/>
              <a:ahLst/>
              <a:cxnLst>
                <a:cxn ang="0">
                  <a:pos x="6" y="4"/>
                </a:cxn>
                <a:cxn ang="0">
                  <a:pos x="0" y="39"/>
                </a:cxn>
                <a:cxn ang="0">
                  <a:pos x="20" y="31"/>
                </a:cxn>
                <a:cxn ang="0">
                  <a:pos x="24" y="0"/>
                </a:cxn>
                <a:cxn ang="0">
                  <a:pos x="6" y="4"/>
                </a:cxn>
              </a:cxnLst>
              <a:rect l="0" t="0" r="r" b="b"/>
              <a:pathLst>
                <a:path w="24" h="39">
                  <a:moveTo>
                    <a:pt x="6" y="4"/>
                  </a:moveTo>
                  <a:lnTo>
                    <a:pt x="0" y="39"/>
                  </a:lnTo>
                  <a:lnTo>
                    <a:pt x="20" y="31"/>
                  </a:lnTo>
                  <a:lnTo>
                    <a:pt x="24" y="0"/>
                  </a:lnTo>
                  <a:lnTo>
                    <a:pt x="6" y="4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8" name="Freeform 181">
              <a:extLst>
                <a:ext uri="{FF2B5EF4-FFF2-40B4-BE49-F238E27FC236}">
                  <a16:creationId xmlns:a16="http://schemas.microsoft.com/office/drawing/2014/main" id="{BCC4A7B3-35BB-4616-AF3C-F5ED8022830F}"/>
                </a:ext>
              </a:extLst>
            </p:cNvPr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5222133" y="5101938"/>
              <a:ext cx="24370" cy="28026"/>
            </a:xfrm>
            <a:custGeom>
              <a:avLst/>
              <a:gdLst/>
              <a:ahLst/>
              <a:cxnLst>
                <a:cxn ang="0">
                  <a:pos x="75" y="80"/>
                </a:cxn>
                <a:cxn ang="0">
                  <a:pos x="82" y="77"/>
                </a:cxn>
                <a:cxn ang="0">
                  <a:pos x="96" y="110"/>
                </a:cxn>
                <a:cxn ang="0">
                  <a:pos x="61" y="114"/>
                </a:cxn>
                <a:cxn ang="0">
                  <a:pos x="64" y="86"/>
                </a:cxn>
                <a:cxn ang="0">
                  <a:pos x="0" y="0"/>
                </a:cxn>
                <a:cxn ang="0">
                  <a:pos x="30" y="17"/>
                </a:cxn>
                <a:cxn ang="0">
                  <a:pos x="75" y="80"/>
                </a:cxn>
              </a:cxnLst>
              <a:rect l="0" t="0" r="r" b="b"/>
              <a:pathLst>
                <a:path w="96" h="114">
                  <a:moveTo>
                    <a:pt x="75" y="80"/>
                  </a:moveTo>
                  <a:lnTo>
                    <a:pt x="82" y="77"/>
                  </a:lnTo>
                  <a:lnTo>
                    <a:pt x="96" y="110"/>
                  </a:lnTo>
                  <a:lnTo>
                    <a:pt x="61" y="114"/>
                  </a:lnTo>
                  <a:lnTo>
                    <a:pt x="64" y="86"/>
                  </a:lnTo>
                  <a:lnTo>
                    <a:pt x="0" y="0"/>
                  </a:lnTo>
                  <a:lnTo>
                    <a:pt x="30" y="17"/>
                  </a:lnTo>
                  <a:lnTo>
                    <a:pt x="75" y="80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9" name="Freeform 183">
              <a:extLst>
                <a:ext uri="{FF2B5EF4-FFF2-40B4-BE49-F238E27FC236}">
                  <a16:creationId xmlns:a16="http://schemas.microsoft.com/office/drawing/2014/main" id="{18F1A2EB-BECA-417E-B954-45BA8C141DD0}"/>
                </a:ext>
              </a:extLst>
            </p:cNvPr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5195325" y="5083660"/>
              <a:ext cx="8530" cy="24370"/>
            </a:xfrm>
            <a:custGeom>
              <a:avLst/>
              <a:gdLst/>
              <a:ahLst/>
              <a:cxnLst>
                <a:cxn ang="0">
                  <a:pos x="17" y="0"/>
                </a:cxn>
                <a:cxn ang="0">
                  <a:pos x="31" y="97"/>
                </a:cxn>
                <a:cxn ang="0">
                  <a:pos x="0" y="59"/>
                </a:cxn>
                <a:cxn ang="0">
                  <a:pos x="17" y="0"/>
                </a:cxn>
              </a:cxnLst>
              <a:rect l="0" t="0" r="r" b="b"/>
              <a:pathLst>
                <a:path w="31" h="97">
                  <a:moveTo>
                    <a:pt x="17" y="0"/>
                  </a:moveTo>
                  <a:lnTo>
                    <a:pt x="31" y="97"/>
                  </a:lnTo>
                  <a:lnTo>
                    <a:pt x="0" y="59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0" name="Freeform 186">
              <a:extLst>
                <a:ext uri="{FF2B5EF4-FFF2-40B4-BE49-F238E27FC236}">
                  <a16:creationId xmlns:a16="http://schemas.microsoft.com/office/drawing/2014/main" id="{220B33DE-D8E2-4BD7-8D66-8FD23634E9D1}"/>
                </a:ext>
              </a:extLst>
            </p:cNvPr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5134400" y="5137275"/>
              <a:ext cx="8530" cy="21933"/>
            </a:xfrm>
            <a:custGeom>
              <a:avLst/>
              <a:gdLst/>
              <a:ahLst/>
              <a:cxnLst>
                <a:cxn ang="0">
                  <a:pos x="0" y="42"/>
                </a:cxn>
                <a:cxn ang="0">
                  <a:pos x="24" y="0"/>
                </a:cxn>
                <a:cxn ang="0">
                  <a:pos x="38" y="86"/>
                </a:cxn>
                <a:cxn ang="0">
                  <a:pos x="10" y="75"/>
                </a:cxn>
                <a:cxn ang="0">
                  <a:pos x="0" y="42"/>
                </a:cxn>
              </a:cxnLst>
              <a:rect l="0" t="0" r="r" b="b"/>
              <a:pathLst>
                <a:path w="38" h="86">
                  <a:moveTo>
                    <a:pt x="0" y="42"/>
                  </a:moveTo>
                  <a:lnTo>
                    <a:pt x="24" y="0"/>
                  </a:lnTo>
                  <a:lnTo>
                    <a:pt x="38" y="86"/>
                  </a:lnTo>
                  <a:lnTo>
                    <a:pt x="10" y="75"/>
                  </a:lnTo>
                  <a:lnTo>
                    <a:pt x="0" y="42"/>
                  </a:lnTo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1" name="Freeform 187">
              <a:extLst>
                <a:ext uri="{FF2B5EF4-FFF2-40B4-BE49-F238E27FC236}">
                  <a16:creationId xmlns:a16="http://schemas.microsoft.com/office/drawing/2014/main" id="{48812E21-8485-4265-9D09-1BD568BCA08B}"/>
                </a:ext>
              </a:extLst>
            </p:cNvPr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5129526" y="5133619"/>
              <a:ext cx="8530" cy="12186"/>
            </a:xfrm>
            <a:custGeom>
              <a:avLst/>
              <a:gdLst/>
              <a:ahLst/>
              <a:cxnLst>
                <a:cxn ang="0">
                  <a:pos x="17" y="0"/>
                </a:cxn>
                <a:cxn ang="0">
                  <a:pos x="0" y="49"/>
                </a:cxn>
                <a:cxn ang="0">
                  <a:pos x="34" y="5"/>
                </a:cxn>
                <a:cxn ang="0">
                  <a:pos x="17" y="0"/>
                </a:cxn>
              </a:cxnLst>
              <a:rect l="0" t="0" r="r" b="b"/>
              <a:pathLst>
                <a:path w="34" h="49">
                  <a:moveTo>
                    <a:pt x="17" y="0"/>
                  </a:moveTo>
                  <a:lnTo>
                    <a:pt x="0" y="49"/>
                  </a:lnTo>
                  <a:lnTo>
                    <a:pt x="34" y="5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2" name="Freeform 188">
              <a:extLst>
                <a:ext uri="{FF2B5EF4-FFF2-40B4-BE49-F238E27FC236}">
                  <a16:creationId xmlns:a16="http://schemas.microsoft.com/office/drawing/2014/main" id="{F149EAAC-3150-4DA0-AF52-60C4CDBD2E8A}"/>
                </a:ext>
              </a:extLst>
            </p:cNvPr>
            <p:cNvSpPr>
              <a:spLocks/>
            </p:cNvSpPr>
            <p:nvPr>
              <p:custDataLst>
                <p:tags r:id="rId111"/>
              </p:custDataLst>
            </p:nvPr>
          </p:nvSpPr>
          <p:spPr bwMode="auto">
            <a:xfrm>
              <a:off x="5129526" y="5133619"/>
              <a:ext cx="8530" cy="12186"/>
            </a:xfrm>
            <a:custGeom>
              <a:avLst/>
              <a:gdLst/>
              <a:ahLst/>
              <a:cxnLst>
                <a:cxn ang="0">
                  <a:pos x="17" y="0"/>
                </a:cxn>
                <a:cxn ang="0">
                  <a:pos x="0" y="49"/>
                </a:cxn>
                <a:cxn ang="0">
                  <a:pos x="34" y="5"/>
                </a:cxn>
                <a:cxn ang="0">
                  <a:pos x="17" y="0"/>
                </a:cxn>
              </a:cxnLst>
              <a:rect l="0" t="0" r="r" b="b"/>
              <a:pathLst>
                <a:path w="34" h="49">
                  <a:moveTo>
                    <a:pt x="17" y="0"/>
                  </a:moveTo>
                  <a:lnTo>
                    <a:pt x="0" y="49"/>
                  </a:lnTo>
                  <a:lnTo>
                    <a:pt x="34" y="5"/>
                  </a:lnTo>
                  <a:lnTo>
                    <a:pt x="17" y="0"/>
                  </a:lnTo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3" name="Freeform 189">
              <a:extLst>
                <a:ext uri="{FF2B5EF4-FFF2-40B4-BE49-F238E27FC236}">
                  <a16:creationId xmlns:a16="http://schemas.microsoft.com/office/drawing/2014/main" id="{8A762FF6-21CF-49CB-A096-C50FCE1F0534}"/>
                </a:ext>
              </a:extLst>
            </p:cNvPr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5103937" y="5092189"/>
              <a:ext cx="26807" cy="40211"/>
            </a:xfrm>
            <a:custGeom>
              <a:avLst/>
              <a:gdLst/>
              <a:ahLst/>
              <a:cxnLst>
                <a:cxn ang="0">
                  <a:pos x="49" y="23"/>
                </a:cxn>
                <a:cxn ang="0">
                  <a:pos x="101" y="89"/>
                </a:cxn>
                <a:cxn ang="0">
                  <a:pos x="107" y="133"/>
                </a:cxn>
                <a:cxn ang="0">
                  <a:pos x="90" y="162"/>
                </a:cxn>
                <a:cxn ang="0">
                  <a:pos x="66" y="165"/>
                </a:cxn>
                <a:cxn ang="0">
                  <a:pos x="11" y="124"/>
                </a:cxn>
                <a:cxn ang="0">
                  <a:pos x="0" y="99"/>
                </a:cxn>
                <a:cxn ang="0">
                  <a:pos x="11" y="6"/>
                </a:cxn>
                <a:cxn ang="0">
                  <a:pos x="38" y="0"/>
                </a:cxn>
                <a:cxn ang="0">
                  <a:pos x="49" y="23"/>
                </a:cxn>
              </a:cxnLst>
              <a:rect l="0" t="0" r="r" b="b"/>
              <a:pathLst>
                <a:path w="107" h="165">
                  <a:moveTo>
                    <a:pt x="49" y="23"/>
                  </a:moveTo>
                  <a:lnTo>
                    <a:pt x="101" y="89"/>
                  </a:lnTo>
                  <a:lnTo>
                    <a:pt x="107" y="133"/>
                  </a:lnTo>
                  <a:lnTo>
                    <a:pt x="90" y="162"/>
                  </a:lnTo>
                  <a:lnTo>
                    <a:pt x="66" y="165"/>
                  </a:lnTo>
                  <a:lnTo>
                    <a:pt x="11" y="124"/>
                  </a:lnTo>
                  <a:lnTo>
                    <a:pt x="0" y="99"/>
                  </a:lnTo>
                  <a:lnTo>
                    <a:pt x="11" y="6"/>
                  </a:lnTo>
                  <a:lnTo>
                    <a:pt x="38" y="0"/>
                  </a:lnTo>
                  <a:lnTo>
                    <a:pt x="49" y="23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4" name="Freeform 191">
              <a:extLst>
                <a:ext uri="{FF2B5EF4-FFF2-40B4-BE49-F238E27FC236}">
                  <a16:creationId xmlns:a16="http://schemas.microsoft.com/office/drawing/2014/main" id="{A577A1DD-6F3C-498A-B857-A2D8D5D556FD}"/>
                </a:ext>
              </a:extLst>
            </p:cNvPr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5141711" y="5092189"/>
              <a:ext cx="9748" cy="4874"/>
            </a:xfrm>
            <a:custGeom>
              <a:avLst/>
              <a:gdLst/>
              <a:ahLst/>
              <a:cxnLst>
                <a:cxn ang="0">
                  <a:pos x="31" y="17"/>
                </a:cxn>
                <a:cxn ang="0">
                  <a:pos x="38" y="0"/>
                </a:cxn>
                <a:cxn ang="0">
                  <a:pos x="25" y="3"/>
                </a:cxn>
                <a:cxn ang="0">
                  <a:pos x="3" y="6"/>
                </a:cxn>
                <a:cxn ang="0">
                  <a:pos x="0" y="20"/>
                </a:cxn>
                <a:cxn ang="0">
                  <a:pos x="31" y="17"/>
                </a:cxn>
              </a:cxnLst>
              <a:rect l="0" t="0" r="r" b="b"/>
              <a:pathLst>
                <a:path w="38" h="20">
                  <a:moveTo>
                    <a:pt x="31" y="17"/>
                  </a:moveTo>
                  <a:lnTo>
                    <a:pt x="38" y="0"/>
                  </a:lnTo>
                  <a:lnTo>
                    <a:pt x="25" y="3"/>
                  </a:lnTo>
                  <a:lnTo>
                    <a:pt x="3" y="6"/>
                  </a:lnTo>
                  <a:lnTo>
                    <a:pt x="0" y="20"/>
                  </a:lnTo>
                  <a:lnTo>
                    <a:pt x="31" y="17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5" name="Freeform 193">
              <a:extLst>
                <a:ext uri="{FF2B5EF4-FFF2-40B4-BE49-F238E27FC236}">
                  <a16:creationId xmlns:a16="http://schemas.microsoft.com/office/drawing/2014/main" id="{F6380FB0-58CD-480F-ADAE-85A75D956533}"/>
                </a:ext>
              </a:extLst>
            </p:cNvPr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5144148" y="5021516"/>
              <a:ext cx="9748" cy="31682"/>
            </a:xfrm>
            <a:custGeom>
              <a:avLst/>
              <a:gdLst/>
              <a:ahLst/>
              <a:cxnLst>
                <a:cxn ang="0">
                  <a:pos x="38" y="44"/>
                </a:cxn>
                <a:cxn ang="0">
                  <a:pos x="24" y="131"/>
                </a:cxn>
                <a:cxn ang="0">
                  <a:pos x="0" y="99"/>
                </a:cxn>
                <a:cxn ang="0">
                  <a:pos x="3" y="55"/>
                </a:cxn>
                <a:cxn ang="0">
                  <a:pos x="17" y="0"/>
                </a:cxn>
                <a:cxn ang="0">
                  <a:pos x="38" y="44"/>
                </a:cxn>
              </a:cxnLst>
              <a:rect l="0" t="0" r="r" b="b"/>
              <a:pathLst>
                <a:path w="38" h="131">
                  <a:moveTo>
                    <a:pt x="38" y="44"/>
                  </a:moveTo>
                  <a:lnTo>
                    <a:pt x="24" y="131"/>
                  </a:lnTo>
                  <a:lnTo>
                    <a:pt x="0" y="99"/>
                  </a:lnTo>
                  <a:lnTo>
                    <a:pt x="3" y="55"/>
                  </a:lnTo>
                  <a:lnTo>
                    <a:pt x="17" y="0"/>
                  </a:lnTo>
                  <a:lnTo>
                    <a:pt x="38" y="44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6" name="Freeform 195">
              <a:extLst>
                <a:ext uri="{FF2B5EF4-FFF2-40B4-BE49-F238E27FC236}">
                  <a16:creationId xmlns:a16="http://schemas.microsoft.com/office/drawing/2014/main" id="{6C9FAC4F-C17C-42BA-8B51-0FAD24E38223}"/>
                </a:ext>
              </a:extLst>
            </p:cNvPr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4609222" y="5437029"/>
              <a:ext cx="54832" cy="120632"/>
            </a:xfrm>
            <a:custGeom>
              <a:avLst/>
              <a:gdLst/>
              <a:ahLst/>
              <a:cxnLst>
                <a:cxn ang="0">
                  <a:pos x="64" y="495"/>
                </a:cxn>
                <a:cxn ang="0">
                  <a:pos x="72" y="451"/>
                </a:cxn>
                <a:cxn ang="0">
                  <a:pos x="151" y="376"/>
                </a:cxn>
                <a:cxn ang="0">
                  <a:pos x="174" y="299"/>
                </a:cxn>
                <a:cxn ang="0">
                  <a:pos x="179" y="134"/>
                </a:cxn>
                <a:cxn ang="0">
                  <a:pos x="209" y="37"/>
                </a:cxn>
                <a:cxn ang="0">
                  <a:pos x="154" y="0"/>
                </a:cxn>
                <a:cxn ang="0">
                  <a:pos x="119" y="3"/>
                </a:cxn>
                <a:cxn ang="0">
                  <a:pos x="72" y="99"/>
                </a:cxn>
                <a:cxn ang="0">
                  <a:pos x="6" y="110"/>
                </a:cxn>
                <a:cxn ang="0">
                  <a:pos x="0" y="486"/>
                </a:cxn>
                <a:cxn ang="0">
                  <a:pos x="64" y="495"/>
                </a:cxn>
              </a:cxnLst>
              <a:rect l="0" t="0" r="r" b="b"/>
              <a:pathLst>
                <a:path w="209" h="495">
                  <a:moveTo>
                    <a:pt x="64" y="495"/>
                  </a:moveTo>
                  <a:lnTo>
                    <a:pt x="72" y="451"/>
                  </a:lnTo>
                  <a:lnTo>
                    <a:pt x="151" y="376"/>
                  </a:lnTo>
                  <a:lnTo>
                    <a:pt x="174" y="299"/>
                  </a:lnTo>
                  <a:lnTo>
                    <a:pt x="179" y="134"/>
                  </a:lnTo>
                  <a:lnTo>
                    <a:pt x="209" y="37"/>
                  </a:lnTo>
                  <a:lnTo>
                    <a:pt x="154" y="0"/>
                  </a:lnTo>
                  <a:lnTo>
                    <a:pt x="119" y="3"/>
                  </a:lnTo>
                  <a:lnTo>
                    <a:pt x="72" y="99"/>
                  </a:lnTo>
                  <a:lnTo>
                    <a:pt x="6" y="110"/>
                  </a:lnTo>
                  <a:lnTo>
                    <a:pt x="0" y="486"/>
                  </a:lnTo>
                  <a:lnTo>
                    <a:pt x="64" y="495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7" name="Freeform 197">
              <a:extLst>
                <a:ext uri="{FF2B5EF4-FFF2-40B4-BE49-F238E27FC236}">
                  <a16:creationId xmlns:a16="http://schemas.microsoft.com/office/drawing/2014/main" id="{80E46B06-45E1-489B-BE63-96609B18F31E}"/>
                </a:ext>
              </a:extLst>
            </p:cNvPr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4777376" y="5784303"/>
              <a:ext cx="164499" cy="135255"/>
            </a:xfrm>
            <a:custGeom>
              <a:avLst/>
              <a:gdLst/>
              <a:ahLst/>
              <a:cxnLst>
                <a:cxn ang="0">
                  <a:pos x="644" y="297"/>
                </a:cxn>
                <a:cxn ang="0">
                  <a:pos x="504" y="186"/>
                </a:cxn>
                <a:cxn ang="0">
                  <a:pos x="427" y="46"/>
                </a:cxn>
                <a:cxn ang="0">
                  <a:pos x="334" y="73"/>
                </a:cxn>
                <a:cxn ang="0">
                  <a:pos x="255" y="28"/>
                </a:cxn>
                <a:cxn ang="0">
                  <a:pos x="176" y="38"/>
                </a:cxn>
                <a:cxn ang="0">
                  <a:pos x="55" y="0"/>
                </a:cxn>
                <a:cxn ang="0">
                  <a:pos x="21" y="21"/>
                </a:cxn>
                <a:cxn ang="0">
                  <a:pos x="4" y="46"/>
                </a:cxn>
                <a:cxn ang="0">
                  <a:pos x="21" y="76"/>
                </a:cxn>
                <a:cxn ang="0">
                  <a:pos x="21" y="118"/>
                </a:cxn>
                <a:cxn ang="0">
                  <a:pos x="0" y="148"/>
                </a:cxn>
                <a:cxn ang="0">
                  <a:pos x="41" y="238"/>
                </a:cxn>
                <a:cxn ang="0">
                  <a:pos x="162" y="301"/>
                </a:cxn>
                <a:cxn ang="0">
                  <a:pos x="176" y="245"/>
                </a:cxn>
                <a:cxn ang="0">
                  <a:pos x="137" y="221"/>
                </a:cxn>
                <a:cxn ang="0">
                  <a:pos x="183" y="214"/>
                </a:cxn>
                <a:cxn ang="0">
                  <a:pos x="276" y="324"/>
                </a:cxn>
                <a:cxn ang="0">
                  <a:pos x="379" y="369"/>
                </a:cxn>
                <a:cxn ang="0">
                  <a:pos x="427" y="403"/>
                </a:cxn>
                <a:cxn ang="0">
                  <a:pos x="441" y="510"/>
                </a:cxn>
                <a:cxn ang="0">
                  <a:pos x="499" y="535"/>
                </a:cxn>
                <a:cxn ang="0">
                  <a:pos x="490" y="490"/>
                </a:cxn>
                <a:cxn ang="0">
                  <a:pos x="510" y="483"/>
                </a:cxn>
                <a:cxn ang="0">
                  <a:pos x="565" y="552"/>
                </a:cxn>
                <a:cxn ang="0">
                  <a:pos x="592" y="521"/>
                </a:cxn>
                <a:cxn ang="0">
                  <a:pos x="600" y="458"/>
                </a:cxn>
                <a:cxn ang="0">
                  <a:pos x="620" y="411"/>
                </a:cxn>
                <a:cxn ang="0">
                  <a:pos x="582" y="383"/>
                </a:cxn>
                <a:cxn ang="0">
                  <a:pos x="586" y="331"/>
                </a:cxn>
                <a:cxn ang="0">
                  <a:pos x="609" y="297"/>
                </a:cxn>
                <a:cxn ang="0">
                  <a:pos x="644" y="297"/>
                </a:cxn>
              </a:cxnLst>
              <a:rect l="0" t="0" r="r" b="b"/>
              <a:pathLst>
                <a:path w="644" h="552">
                  <a:moveTo>
                    <a:pt x="644" y="297"/>
                  </a:moveTo>
                  <a:lnTo>
                    <a:pt x="504" y="186"/>
                  </a:lnTo>
                  <a:lnTo>
                    <a:pt x="427" y="46"/>
                  </a:lnTo>
                  <a:lnTo>
                    <a:pt x="334" y="73"/>
                  </a:lnTo>
                  <a:lnTo>
                    <a:pt x="255" y="28"/>
                  </a:lnTo>
                  <a:lnTo>
                    <a:pt x="176" y="38"/>
                  </a:lnTo>
                  <a:lnTo>
                    <a:pt x="55" y="0"/>
                  </a:lnTo>
                  <a:lnTo>
                    <a:pt x="21" y="21"/>
                  </a:lnTo>
                  <a:lnTo>
                    <a:pt x="4" y="46"/>
                  </a:lnTo>
                  <a:lnTo>
                    <a:pt x="21" y="76"/>
                  </a:lnTo>
                  <a:lnTo>
                    <a:pt x="21" y="118"/>
                  </a:lnTo>
                  <a:lnTo>
                    <a:pt x="0" y="148"/>
                  </a:lnTo>
                  <a:lnTo>
                    <a:pt x="41" y="238"/>
                  </a:lnTo>
                  <a:lnTo>
                    <a:pt x="162" y="301"/>
                  </a:lnTo>
                  <a:lnTo>
                    <a:pt x="176" y="245"/>
                  </a:lnTo>
                  <a:lnTo>
                    <a:pt x="137" y="221"/>
                  </a:lnTo>
                  <a:lnTo>
                    <a:pt x="183" y="214"/>
                  </a:lnTo>
                  <a:lnTo>
                    <a:pt x="276" y="324"/>
                  </a:lnTo>
                  <a:lnTo>
                    <a:pt x="379" y="369"/>
                  </a:lnTo>
                  <a:lnTo>
                    <a:pt x="427" y="403"/>
                  </a:lnTo>
                  <a:lnTo>
                    <a:pt x="441" y="510"/>
                  </a:lnTo>
                  <a:lnTo>
                    <a:pt x="499" y="535"/>
                  </a:lnTo>
                  <a:lnTo>
                    <a:pt x="490" y="490"/>
                  </a:lnTo>
                  <a:lnTo>
                    <a:pt x="510" y="483"/>
                  </a:lnTo>
                  <a:lnTo>
                    <a:pt x="565" y="552"/>
                  </a:lnTo>
                  <a:lnTo>
                    <a:pt x="592" y="521"/>
                  </a:lnTo>
                  <a:lnTo>
                    <a:pt x="600" y="458"/>
                  </a:lnTo>
                  <a:lnTo>
                    <a:pt x="620" y="411"/>
                  </a:lnTo>
                  <a:lnTo>
                    <a:pt x="582" y="383"/>
                  </a:lnTo>
                  <a:lnTo>
                    <a:pt x="586" y="331"/>
                  </a:lnTo>
                  <a:lnTo>
                    <a:pt x="609" y="297"/>
                  </a:lnTo>
                  <a:lnTo>
                    <a:pt x="644" y="297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8" name="Freeform 199">
              <a:extLst>
                <a:ext uri="{FF2B5EF4-FFF2-40B4-BE49-F238E27FC236}">
                  <a16:creationId xmlns:a16="http://schemas.microsoft.com/office/drawing/2014/main" id="{7750BA8F-341F-415D-89CC-5ADE33E626B7}"/>
                </a:ext>
              </a:extLst>
            </p:cNvPr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4811495" y="5200637"/>
              <a:ext cx="506900" cy="149877"/>
            </a:xfrm>
            <a:custGeom>
              <a:avLst/>
              <a:gdLst/>
              <a:ahLst/>
              <a:cxnLst>
                <a:cxn ang="0">
                  <a:pos x="1399" y="241"/>
                </a:cxn>
                <a:cxn ang="0">
                  <a:pos x="1503" y="302"/>
                </a:cxn>
                <a:cxn ang="0">
                  <a:pos x="1616" y="330"/>
                </a:cxn>
                <a:cxn ang="0">
                  <a:pos x="1685" y="323"/>
                </a:cxn>
                <a:cxn ang="0">
                  <a:pos x="1695" y="398"/>
                </a:cxn>
                <a:cxn ang="0">
                  <a:pos x="1844" y="392"/>
                </a:cxn>
                <a:cxn ang="0">
                  <a:pos x="1929" y="458"/>
                </a:cxn>
                <a:cxn ang="0">
                  <a:pos x="1978" y="461"/>
                </a:cxn>
                <a:cxn ang="0">
                  <a:pos x="1984" y="485"/>
                </a:cxn>
                <a:cxn ang="0">
                  <a:pos x="1781" y="574"/>
                </a:cxn>
                <a:cxn ang="0">
                  <a:pos x="1506" y="581"/>
                </a:cxn>
                <a:cxn ang="0">
                  <a:pos x="1355" y="615"/>
                </a:cxn>
                <a:cxn ang="0">
                  <a:pos x="1330" y="598"/>
                </a:cxn>
                <a:cxn ang="0">
                  <a:pos x="1375" y="551"/>
                </a:cxn>
                <a:cxn ang="0">
                  <a:pos x="1451" y="502"/>
                </a:cxn>
                <a:cxn ang="0">
                  <a:pos x="1454" y="471"/>
                </a:cxn>
                <a:cxn ang="0">
                  <a:pos x="1372" y="450"/>
                </a:cxn>
                <a:cxn ang="0">
                  <a:pos x="1265" y="450"/>
                </a:cxn>
                <a:cxn ang="0">
                  <a:pos x="1189" y="389"/>
                </a:cxn>
                <a:cxn ang="0">
                  <a:pos x="1134" y="292"/>
                </a:cxn>
                <a:cxn ang="0">
                  <a:pos x="913" y="282"/>
                </a:cxn>
                <a:cxn ang="0">
                  <a:pos x="785" y="213"/>
                </a:cxn>
                <a:cxn ang="0">
                  <a:pos x="686" y="209"/>
                </a:cxn>
                <a:cxn ang="0">
                  <a:pos x="634" y="220"/>
                </a:cxn>
                <a:cxn ang="0">
                  <a:pos x="524" y="203"/>
                </a:cxn>
                <a:cxn ang="0">
                  <a:pos x="504" y="168"/>
                </a:cxn>
                <a:cxn ang="0">
                  <a:pos x="569" y="137"/>
                </a:cxn>
                <a:cxn ang="0">
                  <a:pos x="535" y="113"/>
                </a:cxn>
                <a:cxn ang="0">
                  <a:pos x="376" y="113"/>
                </a:cxn>
                <a:cxn ang="0">
                  <a:pos x="297" y="192"/>
                </a:cxn>
                <a:cxn ang="0">
                  <a:pos x="187" y="223"/>
                </a:cxn>
                <a:cxn ang="0">
                  <a:pos x="162" y="258"/>
                </a:cxn>
                <a:cxn ang="0">
                  <a:pos x="76" y="305"/>
                </a:cxn>
                <a:cxn ang="0">
                  <a:pos x="55" y="288"/>
                </a:cxn>
                <a:cxn ang="0">
                  <a:pos x="0" y="285"/>
                </a:cxn>
                <a:cxn ang="0">
                  <a:pos x="76" y="250"/>
                </a:cxn>
                <a:cxn ang="0">
                  <a:pos x="90" y="154"/>
                </a:cxn>
                <a:cxn ang="0">
                  <a:pos x="187" y="96"/>
                </a:cxn>
                <a:cxn ang="0">
                  <a:pos x="425" y="9"/>
                </a:cxn>
                <a:cxn ang="0">
                  <a:pos x="569" y="0"/>
                </a:cxn>
                <a:cxn ang="0">
                  <a:pos x="738" y="3"/>
                </a:cxn>
                <a:cxn ang="0">
                  <a:pos x="782" y="27"/>
                </a:cxn>
                <a:cxn ang="0">
                  <a:pos x="851" y="20"/>
                </a:cxn>
                <a:cxn ang="0">
                  <a:pos x="982" y="113"/>
                </a:cxn>
                <a:cxn ang="0">
                  <a:pos x="1138" y="123"/>
                </a:cxn>
                <a:cxn ang="0">
                  <a:pos x="1152" y="134"/>
                </a:cxn>
                <a:cxn ang="0">
                  <a:pos x="1138" y="143"/>
                </a:cxn>
                <a:cxn ang="0">
                  <a:pos x="1220" y="165"/>
                </a:cxn>
                <a:cxn ang="0">
                  <a:pos x="1262" y="206"/>
                </a:cxn>
                <a:cxn ang="0">
                  <a:pos x="1399" y="241"/>
                </a:cxn>
              </a:cxnLst>
              <a:rect l="0" t="0" r="r" b="b"/>
              <a:pathLst>
                <a:path w="1984" h="615">
                  <a:moveTo>
                    <a:pt x="1399" y="241"/>
                  </a:moveTo>
                  <a:lnTo>
                    <a:pt x="1503" y="302"/>
                  </a:lnTo>
                  <a:lnTo>
                    <a:pt x="1616" y="330"/>
                  </a:lnTo>
                  <a:lnTo>
                    <a:pt x="1685" y="323"/>
                  </a:lnTo>
                  <a:lnTo>
                    <a:pt x="1695" y="398"/>
                  </a:lnTo>
                  <a:lnTo>
                    <a:pt x="1844" y="392"/>
                  </a:lnTo>
                  <a:lnTo>
                    <a:pt x="1929" y="458"/>
                  </a:lnTo>
                  <a:lnTo>
                    <a:pt x="1978" y="461"/>
                  </a:lnTo>
                  <a:lnTo>
                    <a:pt x="1984" y="485"/>
                  </a:lnTo>
                  <a:lnTo>
                    <a:pt x="1781" y="574"/>
                  </a:lnTo>
                  <a:lnTo>
                    <a:pt x="1506" y="581"/>
                  </a:lnTo>
                  <a:lnTo>
                    <a:pt x="1355" y="615"/>
                  </a:lnTo>
                  <a:lnTo>
                    <a:pt x="1330" y="598"/>
                  </a:lnTo>
                  <a:lnTo>
                    <a:pt x="1375" y="551"/>
                  </a:lnTo>
                  <a:lnTo>
                    <a:pt x="1451" y="502"/>
                  </a:lnTo>
                  <a:lnTo>
                    <a:pt x="1454" y="471"/>
                  </a:lnTo>
                  <a:lnTo>
                    <a:pt x="1372" y="450"/>
                  </a:lnTo>
                  <a:lnTo>
                    <a:pt x="1265" y="450"/>
                  </a:lnTo>
                  <a:lnTo>
                    <a:pt x="1189" y="389"/>
                  </a:lnTo>
                  <a:lnTo>
                    <a:pt x="1134" y="292"/>
                  </a:lnTo>
                  <a:lnTo>
                    <a:pt x="913" y="282"/>
                  </a:lnTo>
                  <a:lnTo>
                    <a:pt x="785" y="213"/>
                  </a:lnTo>
                  <a:lnTo>
                    <a:pt x="686" y="209"/>
                  </a:lnTo>
                  <a:lnTo>
                    <a:pt x="634" y="220"/>
                  </a:lnTo>
                  <a:lnTo>
                    <a:pt x="524" y="203"/>
                  </a:lnTo>
                  <a:lnTo>
                    <a:pt x="504" y="168"/>
                  </a:lnTo>
                  <a:lnTo>
                    <a:pt x="569" y="137"/>
                  </a:lnTo>
                  <a:lnTo>
                    <a:pt x="535" y="113"/>
                  </a:lnTo>
                  <a:lnTo>
                    <a:pt x="376" y="113"/>
                  </a:lnTo>
                  <a:lnTo>
                    <a:pt x="297" y="192"/>
                  </a:lnTo>
                  <a:lnTo>
                    <a:pt x="187" y="223"/>
                  </a:lnTo>
                  <a:lnTo>
                    <a:pt x="162" y="258"/>
                  </a:lnTo>
                  <a:lnTo>
                    <a:pt x="76" y="305"/>
                  </a:lnTo>
                  <a:lnTo>
                    <a:pt x="55" y="288"/>
                  </a:lnTo>
                  <a:lnTo>
                    <a:pt x="0" y="285"/>
                  </a:lnTo>
                  <a:lnTo>
                    <a:pt x="76" y="250"/>
                  </a:lnTo>
                  <a:lnTo>
                    <a:pt x="90" y="154"/>
                  </a:lnTo>
                  <a:lnTo>
                    <a:pt x="187" y="96"/>
                  </a:lnTo>
                  <a:lnTo>
                    <a:pt x="425" y="9"/>
                  </a:lnTo>
                  <a:lnTo>
                    <a:pt x="569" y="0"/>
                  </a:lnTo>
                  <a:lnTo>
                    <a:pt x="738" y="3"/>
                  </a:lnTo>
                  <a:lnTo>
                    <a:pt x="782" y="27"/>
                  </a:lnTo>
                  <a:lnTo>
                    <a:pt x="851" y="20"/>
                  </a:lnTo>
                  <a:lnTo>
                    <a:pt x="982" y="113"/>
                  </a:lnTo>
                  <a:lnTo>
                    <a:pt x="1138" y="123"/>
                  </a:lnTo>
                  <a:lnTo>
                    <a:pt x="1152" y="134"/>
                  </a:lnTo>
                  <a:lnTo>
                    <a:pt x="1138" y="143"/>
                  </a:lnTo>
                  <a:lnTo>
                    <a:pt x="1220" y="165"/>
                  </a:lnTo>
                  <a:lnTo>
                    <a:pt x="1262" y="206"/>
                  </a:lnTo>
                  <a:lnTo>
                    <a:pt x="1399" y="241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9" name="Freeform 203">
              <a:extLst>
                <a:ext uri="{FF2B5EF4-FFF2-40B4-BE49-F238E27FC236}">
                  <a16:creationId xmlns:a16="http://schemas.microsoft.com/office/drawing/2014/main" id="{2DC6EE56-85EE-4AC3-BBAB-82525758DBA5}"/>
                </a:ext>
              </a:extLst>
            </p:cNvPr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4890697" y="5266437"/>
              <a:ext cx="25589" cy="21933"/>
            </a:xfrm>
            <a:custGeom>
              <a:avLst/>
              <a:gdLst/>
              <a:ahLst/>
              <a:cxnLst>
                <a:cxn ang="0">
                  <a:pos x="72" y="0"/>
                </a:cxn>
                <a:cxn ang="0">
                  <a:pos x="100" y="69"/>
                </a:cxn>
                <a:cxn ang="0">
                  <a:pos x="49" y="89"/>
                </a:cxn>
                <a:cxn ang="0">
                  <a:pos x="14" y="83"/>
                </a:cxn>
                <a:cxn ang="0">
                  <a:pos x="0" y="55"/>
                </a:cxn>
                <a:cxn ang="0">
                  <a:pos x="31" y="69"/>
                </a:cxn>
                <a:cxn ang="0">
                  <a:pos x="28" y="3"/>
                </a:cxn>
                <a:cxn ang="0">
                  <a:pos x="72" y="0"/>
                </a:cxn>
              </a:cxnLst>
              <a:rect l="0" t="0" r="r" b="b"/>
              <a:pathLst>
                <a:path w="100" h="89">
                  <a:moveTo>
                    <a:pt x="72" y="0"/>
                  </a:moveTo>
                  <a:lnTo>
                    <a:pt x="100" y="69"/>
                  </a:lnTo>
                  <a:lnTo>
                    <a:pt x="49" y="89"/>
                  </a:lnTo>
                  <a:lnTo>
                    <a:pt x="14" y="83"/>
                  </a:lnTo>
                  <a:lnTo>
                    <a:pt x="0" y="55"/>
                  </a:lnTo>
                  <a:lnTo>
                    <a:pt x="31" y="69"/>
                  </a:lnTo>
                  <a:lnTo>
                    <a:pt x="28" y="3"/>
                  </a:lnTo>
                  <a:lnTo>
                    <a:pt x="72" y="0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" name="Freeform 205">
              <a:extLst>
                <a:ext uri="{FF2B5EF4-FFF2-40B4-BE49-F238E27FC236}">
                  <a16:creationId xmlns:a16="http://schemas.microsoft.com/office/drawing/2014/main" id="{0F827CCB-A860-44AA-8F38-63B04E3AD0E9}"/>
                </a:ext>
              </a:extLst>
            </p:cNvPr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5435373" y="5315178"/>
              <a:ext cx="168154" cy="115758"/>
            </a:xfrm>
            <a:custGeom>
              <a:avLst/>
              <a:gdLst/>
              <a:ahLst/>
              <a:cxnLst>
                <a:cxn ang="0">
                  <a:pos x="0" y="43"/>
                </a:cxn>
                <a:cxn ang="0">
                  <a:pos x="30" y="98"/>
                </a:cxn>
                <a:cxn ang="0">
                  <a:pos x="30" y="145"/>
                </a:cxn>
                <a:cxn ang="0">
                  <a:pos x="47" y="162"/>
                </a:cxn>
                <a:cxn ang="0">
                  <a:pos x="34" y="200"/>
                </a:cxn>
                <a:cxn ang="0">
                  <a:pos x="41" y="255"/>
                </a:cxn>
                <a:cxn ang="0">
                  <a:pos x="13" y="290"/>
                </a:cxn>
                <a:cxn ang="0">
                  <a:pos x="44" y="348"/>
                </a:cxn>
                <a:cxn ang="0">
                  <a:pos x="41" y="403"/>
                </a:cxn>
                <a:cxn ang="0">
                  <a:pos x="58" y="455"/>
                </a:cxn>
                <a:cxn ang="0">
                  <a:pos x="99" y="476"/>
                </a:cxn>
                <a:cxn ang="0">
                  <a:pos x="182" y="335"/>
                </a:cxn>
                <a:cxn ang="0">
                  <a:pos x="209" y="314"/>
                </a:cxn>
                <a:cxn ang="0">
                  <a:pos x="237" y="310"/>
                </a:cxn>
                <a:cxn ang="0">
                  <a:pos x="264" y="359"/>
                </a:cxn>
                <a:cxn ang="0">
                  <a:pos x="333" y="328"/>
                </a:cxn>
                <a:cxn ang="0">
                  <a:pos x="368" y="290"/>
                </a:cxn>
                <a:cxn ang="0">
                  <a:pos x="437" y="269"/>
                </a:cxn>
                <a:cxn ang="0">
                  <a:pos x="536" y="266"/>
                </a:cxn>
                <a:cxn ang="0">
                  <a:pos x="623" y="283"/>
                </a:cxn>
                <a:cxn ang="0">
                  <a:pos x="657" y="225"/>
                </a:cxn>
                <a:cxn ang="0">
                  <a:pos x="654" y="197"/>
                </a:cxn>
                <a:cxn ang="0">
                  <a:pos x="565" y="135"/>
                </a:cxn>
                <a:cxn ang="0">
                  <a:pos x="430" y="135"/>
                </a:cxn>
                <a:cxn ang="0">
                  <a:pos x="434" y="118"/>
                </a:cxn>
                <a:cxn ang="0">
                  <a:pos x="489" y="101"/>
                </a:cxn>
                <a:cxn ang="0">
                  <a:pos x="485" y="84"/>
                </a:cxn>
                <a:cxn ang="0">
                  <a:pos x="378" y="87"/>
                </a:cxn>
                <a:cxn ang="0">
                  <a:pos x="337" y="32"/>
                </a:cxn>
                <a:cxn ang="0">
                  <a:pos x="185" y="0"/>
                </a:cxn>
                <a:cxn ang="0">
                  <a:pos x="17" y="21"/>
                </a:cxn>
                <a:cxn ang="0">
                  <a:pos x="0" y="43"/>
                </a:cxn>
              </a:cxnLst>
              <a:rect l="0" t="0" r="r" b="b"/>
              <a:pathLst>
                <a:path w="657" h="476">
                  <a:moveTo>
                    <a:pt x="0" y="43"/>
                  </a:moveTo>
                  <a:lnTo>
                    <a:pt x="30" y="98"/>
                  </a:lnTo>
                  <a:lnTo>
                    <a:pt x="30" y="145"/>
                  </a:lnTo>
                  <a:lnTo>
                    <a:pt x="47" y="162"/>
                  </a:lnTo>
                  <a:lnTo>
                    <a:pt x="34" y="200"/>
                  </a:lnTo>
                  <a:lnTo>
                    <a:pt x="41" y="255"/>
                  </a:lnTo>
                  <a:lnTo>
                    <a:pt x="13" y="290"/>
                  </a:lnTo>
                  <a:lnTo>
                    <a:pt x="44" y="348"/>
                  </a:lnTo>
                  <a:lnTo>
                    <a:pt x="41" y="403"/>
                  </a:lnTo>
                  <a:lnTo>
                    <a:pt x="58" y="455"/>
                  </a:lnTo>
                  <a:lnTo>
                    <a:pt x="99" y="476"/>
                  </a:lnTo>
                  <a:lnTo>
                    <a:pt x="182" y="335"/>
                  </a:lnTo>
                  <a:lnTo>
                    <a:pt x="209" y="314"/>
                  </a:lnTo>
                  <a:lnTo>
                    <a:pt x="237" y="310"/>
                  </a:lnTo>
                  <a:lnTo>
                    <a:pt x="264" y="359"/>
                  </a:lnTo>
                  <a:lnTo>
                    <a:pt x="333" y="328"/>
                  </a:lnTo>
                  <a:lnTo>
                    <a:pt x="368" y="290"/>
                  </a:lnTo>
                  <a:lnTo>
                    <a:pt x="437" y="269"/>
                  </a:lnTo>
                  <a:lnTo>
                    <a:pt x="536" y="266"/>
                  </a:lnTo>
                  <a:lnTo>
                    <a:pt x="623" y="283"/>
                  </a:lnTo>
                  <a:lnTo>
                    <a:pt x="657" y="225"/>
                  </a:lnTo>
                  <a:lnTo>
                    <a:pt x="654" y="197"/>
                  </a:lnTo>
                  <a:lnTo>
                    <a:pt x="565" y="135"/>
                  </a:lnTo>
                  <a:lnTo>
                    <a:pt x="430" y="135"/>
                  </a:lnTo>
                  <a:lnTo>
                    <a:pt x="434" y="118"/>
                  </a:lnTo>
                  <a:lnTo>
                    <a:pt x="489" y="101"/>
                  </a:lnTo>
                  <a:lnTo>
                    <a:pt x="485" y="84"/>
                  </a:lnTo>
                  <a:lnTo>
                    <a:pt x="378" y="87"/>
                  </a:lnTo>
                  <a:lnTo>
                    <a:pt x="337" y="32"/>
                  </a:lnTo>
                  <a:lnTo>
                    <a:pt x="185" y="0"/>
                  </a:lnTo>
                  <a:lnTo>
                    <a:pt x="17" y="21"/>
                  </a:lnTo>
                  <a:lnTo>
                    <a:pt x="0" y="43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1" name="Freeform 207">
              <a:extLst>
                <a:ext uri="{FF2B5EF4-FFF2-40B4-BE49-F238E27FC236}">
                  <a16:creationId xmlns:a16="http://schemas.microsoft.com/office/drawing/2014/main" id="{3B4810F7-FDC1-476F-B0E8-5F269CFC55DB}"/>
                </a:ext>
              </a:extLst>
            </p:cNvPr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4571448" y="5628335"/>
              <a:ext cx="112103" cy="62145"/>
            </a:xfrm>
            <a:custGeom>
              <a:avLst/>
              <a:gdLst/>
              <a:ahLst/>
              <a:cxnLst>
                <a:cxn ang="0">
                  <a:pos x="0" y="145"/>
                </a:cxn>
                <a:cxn ang="0">
                  <a:pos x="72" y="189"/>
                </a:cxn>
                <a:cxn ang="0">
                  <a:pos x="159" y="203"/>
                </a:cxn>
                <a:cxn ang="0">
                  <a:pos x="269" y="248"/>
                </a:cxn>
                <a:cxn ang="0">
                  <a:pos x="365" y="251"/>
                </a:cxn>
                <a:cxn ang="0">
                  <a:pos x="441" y="206"/>
                </a:cxn>
                <a:cxn ang="0">
                  <a:pos x="434" y="134"/>
                </a:cxn>
                <a:cxn ang="0">
                  <a:pos x="414" y="113"/>
                </a:cxn>
                <a:cxn ang="0">
                  <a:pos x="373" y="96"/>
                </a:cxn>
                <a:cxn ang="0">
                  <a:pos x="335" y="116"/>
                </a:cxn>
                <a:cxn ang="0">
                  <a:pos x="300" y="110"/>
                </a:cxn>
                <a:cxn ang="0">
                  <a:pos x="207" y="52"/>
                </a:cxn>
                <a:cxn ang="0">
                  <a:pos x="183" y="17"/>
                </a:cxn>
                <a:cxn ang="0">
                  <a:pos x="118" y="0"/>
                </a:cxn>
                <a:cxn ang="0">
                  <a:pos x="93" y="58"/>
                </a:cxn>
                <a:cxn ang="0">
                  <a:pos x="25" y="96"/>
                </a:cxn>
                <a:cxn ang="0">
                  <a:pos x="0" y="145"/>
                </a:cxn>
              </a:cxnLst>
              <a:rect l="0" t="0" r="r" b="b"/>
              <a:pathLst>
                <a:path w="441" h="251">
                  <a:moveTo>
                    <a:pt x="0" y="145"/>
                  </a:moveTo>
                  <a:lnTo>
                    <a:pt x="72" y="189"/>
                  </a:lnTo>
                  <a:lnTo>
                    <a:pt x="159" y="203"/>
                  </a:lnTo>
                  <a:lnTo>
                    <a:pt x="269" y="248"/>
                  </a:lnTo>
                  <a:lnTo>
                    <a:pt x="365" y="251"/>
                  </a:lnTo>
                  <a:lnTo>
                    <a:pt x="441" y="206"/>
                  </a:lnTo>
                  <a:lnTo>
                    <a:pt x="434" y="134"/>
                  </a:lnTo>
                  <a:lnTo>
                    <a:pt x="414" y="113"/>
                  </a:lnTo>
                  <a:lnTo>
                    <a:pt x="373" y="96"/>
                  </a:lnTo>
                  <a:lnTo>
                    <a:pt x="335" y="116"/>
                  </a:lnTo>
                  <a:lnTo>
                    <a:pt x="300" y="110"/>
                  </a:lnTo>
                  <a:lnTo>
                    <a:pt x="207" y="52"/>
                  </a:lnTo>
                  <a:lnTo>
                    <a:pt x="183" y="17"/>
                  </a:lnTo>
                  <a:lnTo>
                    <a:pt x="118" y="0"/>
                  </a:lnTo>
                  <a:lnTo>
                    <a:pt x="93" y="58"/>
                  </a:lnTo>
                  <a:lnTo>
                    <a:pt x="25" y="96"/>
                  </a:lnTo>
                  <a:lnTo>
                    <a:pt x="0" y="145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2" name="Freeform 209">
              <a:extLst>
                <a:ext uri="{FF2B5EF4-FFF2-40B4-BE49-F238E27FC236}">
                  <a16:creationId xmlns:a16="http://schemas.microsoft.com/office/drawing/2014/main" id="{754F2717-A10A-40D1-818F-742DCCCA18D7}"/>
                </a:ext>
              </a:extLst>
            </p:cNvPr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4464219" y="5463836"/>
              <a:ext cx="188870" cy="199836"/>
            </a:xfrm>
            <a:custGeom>
              <a:avLst/>
              <a:gdLst/>
              <a:ahLst/>
              <a:cxnLst>
                <a:cxn ang="0">
                  <a:pos x="734" y="420"/>
                </a:cxn>
                <a:cxn ang="0">
                  <a:pos x="706" y="403"/>
                </a:cxn>
                <a:cxn ang="0">
                  <a:pos x="675" y="420"/>
                </a:cxn>
                <a:cxn ang="0">
                  <a:pos x="633" y="385"/>
                </a:cxn>
                <a:cxn ang="0">
                  <a:pos x="569" y="376"/>
                </a:cxn>
                <a:cxn ang="0">
                  <a:pos x="575" y="0"/>
                </a:cxn>
                <a:cxn ang="0">
                  <a:pos x="251" y="3"/>
                </a:cxn>
                <a:cxn ang="0">
                  <a:pos x="248" y="96"/>
                </a:cxn>
                <a:cxn ang="0">
                  <a:pos x="134" y="93"/>
                </a:cxn>
                <a:cxn ang="0">
                  <a:pos x="276" y="217"/>
                </a:cxn>
                <a:cxn ang="0">
                  <a:pos x="331" y="293"/>
                </a:cxn>
                <a:cxn ang="0">
                  <a:pos x="328" y="344"/>
                </a:cxn>
                <a:cxn ang="0">
                  <a:pos x="141" y="351"/>
                </a:cxn>
                <a:cxn ang="0">
                  <a:pos x="18" y="547"/>
                </a:cxn>
                <a:cxn ang="0">
                  <a:pos x="24" y="571"/>
                </a:cxn>
                <a:cxn ang="0">
                  <a:pos x="0" y="648"/>
                </a:cxn>
                <a:cxn ang="0">
                  <a:pos x="161" y="775"/>
                </a:cxn>
                <a:cxn ang="0">
                  <a:pos x="334" y="796"/>
                </a:cxn>
                <a:cxn ang="0">
                  <a:pos x="413" y="820"/>
                </a:cxn>
                <a:cxn ang="0">
                  <a:pos x="438" y="771"/>
                </a:cxn>
                <a:cxn ang="0">
                  <a:pos x="506" y="733"/>
                </a:cxn>
                <a:cxn ang="0">
                  <a:pos x="531" y="675"/>
                </a:cxn>
                <a:cxn ang="0">
                  <a:pos x="575" y="637"/>
                </a:cxn>
                <a:cxn ang="0">
                  <a:pos x="569" y="575"/>
                </a:cxn>
                <a:cxn ang="0">
                  <a:pos x="723" y="461"/>
                </a:cxn>
                <a:cxn ang="0">
                  <a:pos x="734" y="420"/>
                </a:cxn>
              </a:cxnLst>
              <a:rect l="0" t="0" r="r" b="b"/>
              <a:pathLst>
                <a:path w="734" h="820">
                  <a:moveTo>
                    <a:pt x="734" y="420"/>
                  </a:moveTo>
                  <a:lnTo>
                    <a:pt x="706" y="403"/>
                  </a:lnTo>
                  <a:lnTo>
                    <a:pt x="675" y="420"/>
                  </a:lnTo>
                  <a:lnTo>
                    <a:pt x="633" y="385"/>
                  </a:lnTo>
                  <a:lnTo>
                    <a:pt x="569" y="376"/>
                  </a:lnTo>
                  <a:lnTo>
                    <a:pt x="575" y="0"/>
                  </a:lnTo>
                  <a:lnTo>
                    <a:pt x="251" y="3"/>
                  </a:lnTo>
                  <a:lnTo>
                    <a:pt x="248" y="96"/>
                  </a:lnTo>
                  <a:lnTo>
                    <a:pt x="134" y="93"/>
                  </a:lnTo>
                  <a:lnTo>
                    <a:pt x="276" y="217"/>
                  </a:lnTo>
                  <a:lnTo>
                    <a:pt x="331" y="293"/>
                  </a:lnTo>
                  <a:lnTo>
                    <a:pt x="328" y="344"/>
                  </a:lnTo>
                  <a:lnTo>
                    <a:pt x="141" y="351"/>
                  </a:lnTo>
                  <a:lnTo>
                    <a:pt x="18" y="547"/>
                  </a:lnTo>
                  <a:lnTo>
                    <a:pt x="24" y="571"/>
                  </a:lnTo>
                  <a:lnTo>
                    <a:pt x="0" y="648"/>
                  </a:lnTo>
                  <a:lnTo>
                    <a:pt x="161" y="775"/>
                  </a:lnTo>
                  <a:lnTo>
                    <a:pt x="334" y="796"/>
                  </a:lnTo>
                  <a:lnTo>
                    <a:pt x="413" y="820"/>
                  </a:lnTo>
                  <a:lnTo>
                    <a:pt x="438" y="771"/>
                  </a:lnTo>
                  <a:lnTo>
                    <a:pt x="506" y="733"/>
                  </a:lnTo>
                  <a:lnTo>
                    <a:pt x="531" y="675"/>
                  </a:lnTo>
                  <a:lnTo>
                    <a:pt x="575" y="637"/>
                  </a:lnTo>
                  <a:lnTo>
                    <a:pt x="569" y="575"/>
                  </a:lnTo>
                  <a:lnTo>
                    <a:pt x="723" y="461"/>
                  </a:lnTo>
                  <a:lnTo>
                    <a:pt x="734" y="420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3" name="Freeform 211">
              <a:extLst>
                <a:ext uri="{FF2B5EF4-FFF2-40B4-BE49-F238E27FC236}">
                  <a16:creationId xmlns:a16="http://schemas.microsoft.com/office/drawing/2014/main" id="{990A4209-F00F-4B7E-94AF-8ADE4267BF47}"/>
                </a:ext>
              </a:extLst>
            </p:cNvPr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5368354" y="5374884"/>
              <a:ext cx="21933" cy="9748"/>
            </a:xfrm>
            <a:custGeom>
              <a:avLst/>
              <a:gdLst/>
              <a:ahLst/>
              <a:cxnLst>
                <a:cxn ang="0">
                  <a:pos x="49" y="0"/>
                </a:cxn>
                <a:cxn ang="0">
                  <a:pos x="79" y="9"/>
                </a:cxn>
                <a:cxn ang="0">
                  <a:pos x="90" y="41"/>
                </a:cxn>
                <a:cxn ang="0">
                  <a:pos x="17" y="30"/>
                </a:cxn>
                <a:cxn ang="0">
                  <a:pos x="0" y="9"/>
                </a:cxn>
                <a:cxn ang="0">
                  <a:pos x="49" y="0"/>
                </a:cxn>
              </a:cxnLst>
              <a:rect l="0" t="0" r="r" b="b"/>
              <a:pathLst>
                <a:path w="90" h="41">
                  <a:moveTo>
                    <a:pt x="49" y="0"/>
                  </a:moveTo>
                  <a:lnTo>
                    <a:pt x="79" y="9"/>
                  </a:lnTo>
                  <a:lnTo>
                    <a:pt x="90" y="41"/>
                  </a:lnTo>
                  <a:lnTo>
                    <a:pt x="17" y="30"/>
                  </a:lnTo>
                  <a:lnTo>
                    <a:pt x="0" y="9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4" name="Freeform 212">
              <a:extLst>
                <a:ext uri="{FF2B5EF4-FFF2-40B4-BE49-F238E27FC236}">
                  <a16:creationId xmlns:a16="http://schemas.microsoft.com/office/drawing/2014/main" id="{D6AB92C5-19DE-42A0-835F-85FABDAFF227}"/>
                </a:ext>
              </a:extLst>
            </p:cNvPr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5368354" y="5374884"/>
              <a:ext cx="21933" cy="9748"/>
            </a:xfrm>
            <a:custGeom>
              <a:avLst/>
              <a:gdLst/>
              <a:ahLst/>
              <a:cxnLst>
                <a:cxn ang="0">
                  <a:pos x="49" y="0"/>
                </a:cxn>
                <a:cxn ang="0">
                  <a:pos x="79" y="9"/>
                </a:cxn>
                <a:cxn ang="0">
                  <a:pos x="90" y="41"/>
                </a:cxn>
                <a:cxn ang="0">
                  <a:pos x="17" y="30"/>
                </a:cxn>
                <a:cxn ang="0">
                  <a:pos x="0" y="9"/>
                </a:cxn>
                <a:cxn ang="0">
                  <a:pos x="49" y="0"/>
                </a:cxn>
              </a:cxnLst>
              <a:rect l="0" t="0" r="r" b="b"/>
              <a:pathLst>
                <a:path w="90" h="41">
                  <a:moveTo>
                    <a:pt x="49" y="0"/>
                  </a:moveTo>
                  <a:lnTo>
                    <a:pt x="79" y="9"/>
                  </a:lnTo>
                  <a:lnTo>
                    <a:pt x="90" y="41"/>
                  </a:lnTo>
                  <a:lnTo>
                    <a:pt x="17" y="30"/>
                  </a:lnTo>
                  <a:lnTo>
                    <a:pt x="0" y="9"/>
                  </a:lnTo>
                  <a:lnTo>
                    <a:pt x="49" y="0"/>
                  </a:lnTo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5" name="Freeform 215">
              <a:extLst>
                <a:ext uri="{FF2B5EF4-FFF2-40B4-BE49-F238E27FC236}">
                  <a16:creationId xmlns:a16="http://schemas.microsoft.com/office/drawing/2014/main" id="{85887E41-D750-4830-8CEA-F4A1667439B9}"/>
                </a:ext>
              </a:extLst>
            </p:cNvPr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5319614" y="5324925"/>
              <a:ext cx="129162" cy="98699"/>
            </a:xfrm>
            <a:custGeom>
              <a:avLst/>
              <a:gdLst/>
              <a:ahLst/>
              <a:cxnLst>
                <a:cxn ang="0">
                  <a:pos x="459" y="0"/>
                </a:cxn>
                <a:cxn ang="0">
                  <a:pos x="489" y="55"/>
                </a:cxn>
                <a:cxn ang="0">
                  <a:pos x="489" y="102"/>
                </a:cxn>
                <a:cxn ang="0">
                  <a:pos x="506" y="119"/>
                </a:cxn>
                <a:cxn ang="0">
                  <a:pos x="493" y="157"/>
                </a:cxn>
                <a:cxn ang="0">
                  <a:pos x="500" y="212"/>
                </a:cxn>
                <a:cxn ang="0">
                  <a:pos x="472" y="247"/>
                </a:cxn>
                <a:cxn ang="0">
                  <a:pos x="503" y="305"/>
                </a:cxn>
                <a:cxn ang="0">
                  <a:pos x="500" y="360"/>
                </a:cxn>
                <a:cxn ang="0">
                  <a:pos x="413" y="333"/>
                </a:cxn>
                <a:cxn ang="0">
                  <a:pos x="306" y="368"/>
                </a:cxn>
                <a:cxn ang="0">
                  <a:pos x="152" y="354"/>
                </a:cxn>
                <a:cxn ang="0">
                  <a:pos x="124" y="365"/>
                </a:cxn>
                <a:cxn ang="0">
                  <a:pos x="107" y="402"/>
                </a:cxn>
                <a:cxn ang="0">
                  <a:pos x="28" y="365"/>
                </a:cxn>
                <a:cxn ang="0">
                  <a:pos x="0" y="330"/>
                </a:cxn>
                <a:cxn ang="0">
                  <a:pos x="4" y="302"/>
                </a:cxn>
                <a:cxn ang="0">
                  <a:pos x="224" y="299"/>
                </a:cxn>
                <a:cxn ang="0">
                  <a:pos x="366" y="271"/>
                </a:cxn>
                <a:cxn ang="0">
                  <a:pos x="369" y="240"/>
                </a:cxn>
                <a:cxn ang="0">
                  <a:pos x="297" y="198"/>
                </a:cxn>
                <a:cxn ang="0">
                  <a:pos x="269" y="78"/>
                </a:cxn>
                <a:cxn ang="0">
                  <a:pos x="242" y="68"/>
                </a:cxn>
                <a:cxn ang="0">
                  <a:pos x="172" y="75"/>
                </a:cxn>
                <a:cxn ang="0">
                  <a:pos x="155" y="47"/>
                </a:cxn>
                <a:cxn ang="0">
                  <a:pos x="183" y="16"/>
                </a:cxn>
                <a:cxn ang="0">
                  <a:pos x="234" y="0"/>
                </a:cxn>
                <a:cxn ang="0">
                  <a:pos x="355" y="27"/>
                </a:cxn>
                <a:cxn ang="0">
                  <a:pos x="434" y="16"/>
                </a:cxn>
                <a:cxn ang="0">
                  <a:pos x="459" y="0"/>
                </a:cxn>
              </a:cxnLst>
              <a:rect l="0" t="0" r="r" b="b"/>
              <a:pathLst>
                <a:path w="506" h="402">
                  <a:moveTo>
                    <a:pt x="459" y="0"/>
                  </a:moveTo>
                  <a:lnTo>
                    <a:pt x="489" y="55"/>
                  </a:lnTo>
                  <a:lnTo>
                    <a:pt x="489" y="102"/>
                  </a:lnTo>
                  <a:lnTo>
                    <a:pt x="506" y="119"/>
                  </a:lnTo>
                  <a:lnTo>
                    <a:pt x="493" y="157"/>
                  </a:lnTo>
                  <a:lnTo>
                    <a:pt x="500" y="212"/>
                  </a:lnTo>
                  <a:lnTo>
                    <a:pt x="472" y="247"/>
                  </a:lnTo>
                  <a:lnTo>
                    <a:pt x="503" y="305"/>
                  </a:lnTo>
                  <a:lnTo>
                    <a:pt x="500" y="360"/>
                  </a:lnTo>
                  <a:lnTo>
                    <a:pt x="413" y="333"/>
                  </a:lnTo>
                  <a:lnTo>
                    <a:pt x="306" y="368"/>
                  </a:lnTo>
                  <a:lnTo>
                    <a:pt x="152" y="354"/>
                  </a:lnTo>
                  <a:lnTo>
                    <a:pt x="124" y="365"/>
                  </a:lnTo>
                  <a:lnTo>
                    <a:pt x="107" y="402"/>
                  </a:lnTo>
                  <a:lnTo>
                    <a:pt x="28" y="365"/>
                  </a:lnTo>
                  <a:lnTo>
                    <a:pt x="0" y="330"/>
                  </a:lnTo>
                  <a:lnTo>
                    <a:pt x="4" y="302"/>
                  </a:lnTo>
                  <a:lnTo>
                    <a:pt x="224" y="299"/>
                  </a:lnTo>
                  <a:lnTo>
                    <a:pt x="366" y="271"/>
                  </a:lnTo>
                  <a:lnTo>
                    <a:pt x="369" y="240"/>
                  </a:lnTo>
                  <a:lnTo>
                    <a:pt x="297" y="198"/>
                  </a:lnTo>
                  <a:lnTo>
                    <a:pt x="269" y="78"/>
                  </a:lnTo>
                  <a:lnTo>
                    <a:pt x="242" y="68"/>
                  </a:lnTo>
                  <a:lnTo>
                    <a:pt x="172" y="75"/>
                  </a:lnTo>
                  <a:lnTo>
                    <a:pt x="155" y="47"/>
                  </a:lnTo>
                  <a:lnTo>
                    <a:pt x="183" y="16"/>
                  </a:lnTo>
                  <a:lnTo>
                    <a:pt x="234" y="0"/>
                  </a:lnTo>
                  <a:lnTo>
                    <a:pt x="355" y="27"/>
                  </a:lnTo>
                  <a:lnTo>
                    <a:pt x="434" y="16"/>
                  </a:lnTo>
                  <a:lnTo>
                    <a:pt x="459" y="0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6" name="Freeform 217">
              <a:extLst>
                <a:ext uri="{FF2B5EF4-FFF2-40B4-BE49-F238E27FC236}">
                  <a16:creationId xmlns:a16="http://schemas.microsoft.com/office/drawing/2014/main" id="{1770EA91-84D7-4152-998A-9747DE9B691F}"/>
                </a:ext>
              </a:extLst>
            </p:cNvPr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4600692" y="5555223"/>
              <a:ext cx="299754" cy="141347"/>
            </a:xfrm>
            <a:custGeom>
              <a:avLst/>
              <a:gdLst/>
              <a:ahLst/>
              <a:cxnLst>
                <a:cxn ang="0">
                  <a:pos x="1174" y="176"/>
                </a:cxn>
                <a:cxn ang="0">
                  <a:pos x="1136" y="121"/>
                </a:cxn>
                <a:cxn ang="0">
                  <a:pos x="1054" y="87"/>
                </a:cxn>
                <a:cxn ang="0">
                  <a:pos x="1012" y="49"/>
                </a:cxn>
                <a:cxn ang="0">
                  <a:pos x="832" y="0"/>
                </a:cxn>
                <a:cxn ang="0">
                  <a:pos x="727" y="14"/>
                </a:cxn>
                <a:cxn ang="0">
                  <a:pos x="689" y="0"/>
                </a:cxn>
                <a:cxn ang="0">
                  <a:pos x="510" y="42"/>
                </a:cxn>
                <a:cxn ang="0">
                  <a:pos x="319" y="32"/>
                </a:cxn>
                <a:cxn ang="0">
                  <a:pos x="255" y="52"/>
                </a:cxn>
                <a:cxn ang="0">
                  <a:pos x="203" y="49"/>
                </a:cxn>
                <a:cxn ang="0">
                  <a:pos x="192" y="90"/>
                </a:cxn>
                <a:cxn ang="0">
                  <a:pos x="38" y="204"/>
                </a:cxn>
                <a:cxn ang="0">
                  <a:pos x="44" y="266"/>
                </a:cxn>
                <a:cxn ang="0">
                  <a:pos x="0" y="304"/>
                </a:cxn>
                <a:cxn ang="0">
                  <a:pos x="65" y="321"/>
                </a:cxn>
                <a:cxn ang="0">
                  <a:pos x="89" y="356"/>
                </a:cxn>
                <a:cxn ang="0">
                  <a:pos x="182" y="414"/>
                </a:cxn>
                <a:cxn ang="0">
                  <a:pos x="217" y="420"/>
                </a:cxn>
                <a:cxn ang="0">
                  <a:pos x="255" y="400"/>
                </a:cxn>
                <a:cxn ang="0">
                  <a:pos x="296" y="417"/>
                </a:cxn>
                <a:cxn ang="0">
                  <a:pos x="316" y="438"/>
                </a:cxn>
                <a:cxn ang="0">
                  <a:pos x="323" y="510"/>
                </a:cxn>
                <a:cxn ang="0">
                  <a:pos x="368" y="521"/>
                </a:cxn>
                <a:cxn ang="0">
                  <a:pos x="403" y="582"/>
                </a:cxn>
                <a:cxn ang="0">
                  <a:pos x="464" y="579"/>
                </a:cxn>
                <a:cxn ang="0">
                  <a:pos x="516" y="524"/>
                </a:cxn>
                <a:cxn ang="0">
                  <a:pos x="522" y="445"/>
                </a:cxn>
                <a:cxn ang="0">
                  <a:pos x="599" y="445"/>
                </a:cxn>
                <a:cxn ang="0">
                  <a:pos x="634" y="379"/>
                </a:cxn>
                <a:cxn ang="0">
                  <a:pos x="684" y="411"/>
                </a:cxn>
                <a:cxn ang="0">
                  <a:pos x="705" y="408"/>
                </a:cxn>
                <a:cxn ang="0">
                  <a:pos x="791" y="335"/>
                </a:cxn>
                <a:cxn ang="0">
                  <a:pos x="823" y="328"/>
                </a:cxn>
                <a:cxn ang="0">
                  <a:pos x="843" y="269"/>
                </a:cxn>
                <a:cxn ang="0">
                  <a:pos x="884" y="225"/>
                </a:cxn>
                <a:cxn ang="0">
                  <a:pos x="926" y="255"/>
                </a:cxn>
                <a:cxn ang="0">
                  <a:pos x="985" y="255"/>
                </a:cxn>
                <a:cxn ang="0">
                  <a:pos x="1133" y="176"/>
                </a:cxn>
                <a:cxn ang="0">
                  <a:pos x="1174" y="176"/>
                </a:cxn>
              </a:cxnLst>
              <a:rect l="0" t="0" r="r" b="b"/>
              <a:pathLst>
                <a:path w="1174" h="582">
                  <a:moveTo>
                    <a:pt x="1174" y="176"/>
                  </a:moveTo>
                  <a:lnTo>
                    <a:pt x="1136" y="121"/>
                  </a:lnTo>
                  <a:lnTo>
                    <a:pt x="1054" y="87"/>
                  </a:lnTo>
                  <a:lnTo>
                    <a:pt x="1012" y="49"/>
                  </a:lnTo>
                  <a:lnTo>
                    <a:pt x="832" y="0"/>
                  </a:lnTo>
                  <a:lnTo>
                    <a:pt x="727" y="14"/>
                  </a:lnTo>
                  <a:lnTo>
                    <a:pt x="689" y="0"/>
                  </a:lnTo>
                  <a:lnTo>
                    <a:pt x="510" y="42"/>
                  </a:lnTo>
                  <a:lnTo>
                    <a:pt x="319" y="32"/>
                  </a:lnTo>
                  <a:lnTo>
                    <a:pt x="255" y="52"/>
                  </a:lnTo>
                  <a:lnTo>
                    <a:pt x="203" y="49"/>
                  </a:lnTo>
                  <a:lnTo>
                    <a:pt x="192" y="90"/>
                  </a:lnTo>
                  <a:lnTo>
                    <a:pt x="38" y="204"/>
                  </a:lnTo>
                  <a:lnTo>
                    <a:pt x="44" y="266"/>
                  </a:lnTo>
                  <a:lnTo>
                    <a:pt x="0" y="304"/>
                  </a:lnTo>
                  <a:lnTo>
                    <a:pt x="65" y="321"/>
                  </a:lnTo>
                  <a:lnTo>
                    <a:pt x="89" y="356"/>
                  </a:lnTo>
                  <a:lnTo>
                    <a:pt x="182" y="414"/>
                  </a:lnTo>
                  <a:lnTo>
                    <a:pt x="217" y="420"/>
                  </a:lnTo>
                  <a:lnTo>
                    <a:pt x="255" y="400"/>
                  </a:lnTo>
                  <a:lnTo>
                    <a:pt x="296" y="417"/>
                  </a:lnTo>
                  <a:lnTo>
                    <a:pt x="316" y="438"/>
                  </a:lnTo>
                  <a:lnTo>
                    <a:pt x="323" y="510"/>
                  </a:lnTo>
                  <a:lnTo>
                    <a:pt x="368" y="521"/>
                  </a:lnTo>
                  <a:lnTo>
                    <a:pt x="403" y="582"/>
                  </a:lnTo>
                  <a:lnTo>
                    <a:pt x="464" y="579"/>
                  </a:lnTo>
                  <a:lnTo>
                    <a:pt x="516" y="524"/>
                  </a:lnTo>
                  <a:lnTo>
                    <a:pt x="522" y="445"/>
                  </a:lnTo>
                  <a:lnTo>
                    <a:pt x="599" y="445"/>
                  </a:lnTo>
                  <a:lnTo>
                    <a:pt x="634" y="379"/>
                  </a:lnTo>
                  <a:lnTo>
                    <a:pt x="684" y="411"/>
                  </a:lnTo>
                  <a:lnTo>
                    <a:pt x="705" y="408"/>
                  </a:lnTo>
                  <a:lnTo>
                    <a:pt x="791" y="335"/>
                  </a:lnTo>
                  <a:lnTo>
                    <a:pt x="823" y="328"/>
                  </a:lnTo>
                  <a:lnTo>
                    <a:pt x="843" y="269"/>
                  </a:lnTo>
                  <a:lnTo>
                    <a:pt x="884" y="225"/>
                  </a:lnTo>
                  <a:lnTo>
                    <a:pt x="926" y="255"/>
                  </a:lnTo>
                  <a:lnTo>
                    <a:pt x="985" y="255"/>
                  </a:lnTo>
                  <a:lnTo>
                    <a:pt x="1133" y="176"/>
                  </a:lnTo>
                  <a:lnTo>
                    <a:pt x="1174" y="176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7" name="Freeform 219">
              <a:extLst>
                <a:ext uri="{FF2B5EF4-FFF2-40B4-BE49-F238E27FC236}">
                  <a16:creationId xmlns:a16="http://schemas.microsoft.com/office/drawing/2014/main" id="{E62F19E0-7A17-4729-BB98-F0240273CBC0}"/>
                </a:ext>
              </a:extLst>
            </p:cNvPr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5131963" y="5413876"/>
              <a:ext cx="99918" cy="35337"/>
            </a:xfrm>
            <a:custGeom>
              <a:avLst/>
              <a:gdLst/>
              <a:ahLst/>
              <a:cxnLst>
                <a:cxn ang="0">
                  <a:pos x="221" y="6"/>
                </a:cxn>
                <a:cxn ang="0">
                  <a:pos x="290" y="44"/>
                </a:cxn>
                <a:cxn ang="0">
                  <a:pos x="359" y="41"/>
                </a:cxn>
                <a:cxn ang="0">
                  <a:pos x="390" y="102"/>
                </a:cxn>
                <a:cxn ang="0">
                  <a:pos x="307" y="102"/>
                </a:cxn>
                <a:cxn ang="0">
                  <a:pos x="238" y="119"/>
                </a:cxn>
                <a:cxn ang="0">
                  <a:pos x="228" y="144"/>
                </a:cxn>
                <a:cxn ang="0">
                  <a:pos x="121" y="130"/>
                </a:cxn>
                <a:cxn ang="0">
                  <a:pos x="0" y="47"/>
                </a:cxn>
                <a:cxn ang="0">
                  <a:pos x="3" y="30"/>
                </a:cxn>
                <a:cxn ang="0">
                  <a:pos x="80" y="0"/>
                </a:cxn>
                <a:cxn ang="0">
                  <a:pos x="221" y="6"/>
                </a:cxn>
              </a:cxnLst>
              <a:rect l="0" t="0" r="r" b="b"/>
              <a:pathLst>
                <a:path w="390" h="144">
                  <a:moveTo>
                    <a:pt x="221" y="6"/>
                  </a:moveTo>
                  <a:lnTo>
                    <a:pt x="290" y="44"/>
                  </a:lnTo>
                  <a:lnTo>
                    <a:pt x="359" y="41"/>
                  </a:lnTo>
                  <a:lnTo>
                    <a:pt x="390" y="102"/>
                  </a:lnTo>
                  <a:lnTo>
                    <a:pt x="307" y="102"/>
                  </a:lnTo>
                  <a:lnTo>
                    <a:pt x="238" y="119"/>
                  </a:lnTo>
                  <a:lnTo>
                    <a:pt x="228" y="144"/>
                  </a:lnTo>
                  <a:lnTo>
                    <a:pt x="121" y="130"/>
                  </a:lnTo>
                  <a:lnTo>
                    <a:pt x="0" y="47"/>
                  </a:lnTo>
                  <a:lnTo>
                    <a:pt x="3" y="30"/>
                  </a:lnTo>
                  <a:lnTo>
                    <a:pt x="80" y="0"/>
                  </a:lnTo>
                  <a:lnTo>
                    <a:pt x="221" y="6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8" name="Freeform 221">
              <a:extLst>
                <a:ext uri="{FF2B5EF4-FFF2-40B4-BE49-F238E27FC236}">
                  <a16:creationId xmlns:a16="http://schemas.microsoft.com/office/drawing/2014/main" id="{69379434-39E6-40E5-8B58-AFB906F6F244}"/>
                </a:ext>
              </a:extLst>
            </p:cNvPr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3435795" y="4616971"/>
              <a:ext cx="1285529" cy="1005272"/>
            </a:xfrm>
            <a:custGeom>
              <a:avLst/>
              <a:gdLst/>
              <a:ahLst/>
              <a:cxnLst>
                <a:cxn ang="0">
                  <a:pos x="3197" y="1953"/>
                </a:cxn>
                <a:cxn ang="0">
                  <a:pos x="3100" y="2046"/>
                </a:cxn>
                <a:cxn ang="0">
                  <a:pos x="3056" y="2598"/>
                </a:cxn>
                <a:cxn ang="0">
                  <a:pos x="3117" y="2804"/>
                </a:cxn>
                <a:cxn ang="0">
                  <a:pos x="3314" y="3197"/>
                </a:cxn>
                <a:cxn ang="0">
                  <a:pos x="3665" y="3407"/>
                </a:cxn>
                <a:cxn ang="0">
                  <a:pos x="4093" y="3314"/>
                </a:cxn>
                <a:cxn ang="0">
                  <a:pos x="4209" y="3256"/>
                </a:cxn>
                <a:cxn ang="0">
                  <a:pos x="4389" y="2842"/>
                </a:cxn>
                <a:cxn ang="0">
                  <a:pos x="4806" y="2732"/>
                </a:cxn>
                <a:cxn ang="0">
                  <a:pos x="5009" y="2755"/>
                </a:cxn>
                <a:cxn ang="0">
                  <a:pos x="4892" y="3117"/>
                </a:cxn>
                <a:cxn ang="0">
                  <a:pos x="4916" y="3200"/>
                </a:cxn>
                <a:cxn ang="0">
                  <a:pos x="4812" y="3348"/>
                </a:cxn>
                <a:cxn ang="0">
                  <a:pos x="4722" y="3369"/>
                </a:cxn>
                <a:cxn ang="0">
                  <a:pos x="4282" y="3572"/>
                </a:cxn>
                <a:cxn ang="0">
                  <a:pos x="4362" y="3820"/>
                </a:cxn>
                <a:cxn ang="0">
                  <a:pos x="4034" y="4124"/>
                </a:cxn>
                <a:cxn ang="0">
                  <a:pos x="3503" y="3810"/>
                </a:cxn>
                <a:cxn ang="0">
                  <a:pos x="2928" y="3800"/>
                </a:cxn>
                <a:cxn ang="0">
                  <a:pos x="2395" y="3528"/>
                </a:cxn>
                <a:cxn ang="0">
                  <a:pos x="2184" y="3400"/>
                </a:cxn>
                <a:cxn ang="0">
                  <a:pos x="1750" y="3117"/>
                </a:cxn>
                <a:cxn ang="0">
                  <a:pos x="1613" y="2839"/>
                </a:cxn>
                <a:cxn ang="0">
                  <a:pos x="1688" y="2687"/>
                </a:cxn>
                <a:cxn ang="0">
                  <a:pos x="1464" y="2198"/>
                </a:cxn>
                <a:cxn ang="0">
                  <a:pos x="1271" y="1881"/>
                </a:cxn>
                <a:cxn ang="0">
                  <a:pos x="1116" y="1706"/>
                </a:cxn>
                <a:cxn ang="0">
                  <a:pos x="1095" y="1561"/>
                </a:cxn>
                <a:cxn ang="0">
                  <a:pos x="892" y="1333"/>
                </a:cxn>
                <a:cxn ang="0">
                  <a:pos x="703" y="1009"/>
                </a:cxn>
                <a:cxn ang="0">
                  <a:pos x="609" y="721"/>
                </a:cxn>
                <a:cxn ang="0">
                  <a:pos x="510" y="397"/>
                </a:cxn>
                <a:cxn ang="0">
                  <a:pos x="331" y="227"/>
                </a:cxn>
                <a:cxn ang="0">
                  <a:pos x="313" y="603"/>
                </a:cxn>
                <a:cxn ang="0">
                  <a:pos x="444" y="903"/>
                </a:cxn>
                <a:cxn ang="0">
                  <a:pos x="538" y="1151"/>
                </a:cxn>
                <a:cxn ang="0">
                  <a:pos x="637" y="1420"/>
                </a:cxn>
                <a:cxn ang="0">
                  <a:pos x="710" y="1516"/>
                </a:cxn>
                <a:cxn ang="0">
                  <a:pos x="776" y="1819"/>
                </a:cxn>
                <a:cxn ang="0">
                  <a:pos x="848" y="1953"/>
                </a:cxn>
                <a:cxn ang="0">
                  <a:pos x="937" y="2201"/>
                </a:cxn>
                <a:cxn ang="0">
                  <a:pos x="782" y="2077"/>
                </a:cxn>
                <a:cxn ang="0">
                  <a:pos x="568" y="1816"/>
                </a:cxn>
                <a:cxn ang="0">
                  <a:pos x="548" y="1701"/>
                </a:cxn>
                <a:cxn ang="0">
                  <a:pos x="431" y="1378"/>
                </a:cxn>
                <a:cxn ang="0">
                  <a:pos x="276" y="1264"/>
                </a:cxn>
                <a:cxn ang="0">
                  <a:pos x="156" y="1089"/>
                </a:cxn>
                <a:cxn ang="0">
                  <a:pos x="266" y="1086"/>
                </a:cxn>
                <a:cxn ang="0">
                  <a:pos x="324" y="965"/>
                </a:cxn>
                <a:cxn ang="0">
                  <a:pos x="169" y="689"/>
                </a:cxn>
                <a:cxn ang="0">
                  <a:pos x="87" y="397"/>
                </a:cxn>
                <a:cxn ang="0">
                  <a:pos x="17" y="24"/>
                </a:cxn>
                <a:cxn ang="0">
                  <a:pos x="937" y="499"/>
                </a:cxn>
                <a:cxn ang="0">
                  <a:pos x="1808" y="686"/>
                </a:cxn>
                <a:cxn ang="0">
                  <a:pos x="1984" y="1031"/>
                </a:cxn>
                <a:cxn ang="0">
                  <a:pos x="2277" y="1020"/>
                </a:cxn>
                <a:cxn ang="0">
                  <a:pos x="2653" y="1336"/>
                </a:cxn>
                <a:cxn ang="0">
                  <a:pos x="2807" y="1657"/>
                </a:cxn>
                <a:cxn ang="0">
                  <a:pos x="3001" y="1826"/>
                </a:cxn>
              </a:cxnLst>
              <a:rect l="0" t="0" r="r" b="b"/>
              <a:pathLst>
                <a:path w="5040" h="4124">
                  <a:moveTo>
                    <a:pt x="3201" y="1877"/>
                  </a:moveTo>
                  <a:lnTo>
                    <a:pt x="3176" y="1933"/>
                  </a:lnTo>
                  <a:lnTo>
                    <a:pt x="3207" y="1906"/>
                  </a:lnTo>
                  <a:lnTo>
                    <a:pt x="3197" y="1953"/>
                  </a:lnTo>
                  <a:lnTo>
                    <a:pt x="3176" y="1978"/>
                  </a:lnTo>
                  <a:lnTo>
                    <a:pt x="3121" y="1970"/>
                  </a:lnTo>
                  <a:lnTo>
                    <a:pt x="3111" y="1981"/>
                  </a:lnTo>
                  <a:lnTo>
                    <a:pt x="3100" y="2046"/>
                  </a:lnTo>
                  <a:lnTo>
                    <a:pt x="3062" y="2105"/>
                  </a:lnTo>
                  <a:lnTo>
                    <a:pt x="3062" y="2267"/>
                  </a:lnTo>
                  <a:lnTo>
                    <a:pt x="3080" y="2360"/>
                  </a:lnTo>
                  <a:lnTo>
                    <a:pt x="3056" y="2598"/>
                  </a:lnTo>
                  <a:lnTo>
                    <a:pt x="3076" y="2659"/>
                  </a:lnTo>
                  <a:lnTo>
                    <a:pt x="3138" y="2738"/>
                  </a:lnTo>
                  <a:lnTo>
                    <a:pt x="3138" y="2770"/>
                  </a:lnTo>
                  <a:lnTo>
                    <a:pt x="3117" y="2804"/>
                  </a:lnTo>
                  <a:lnTo>
                    <a:pt x="3128" y="2842"/>
                  </a:lnTo>
                  <a:lnTo>
                    <a:pt x="3187" y="2949"/>
                  </a:lnTo>
                  <a:lnTo>
                    <a:pt x="3262" y="3038"/>
                  </a:lnTo>
                  <a:lnTo>
                    <a:pt x="3314" y="3197"/>
                  </a:lnTo>
                  <a:lnTo>
                    <a:pt x="3404" y="3283"/>
                  </a:lnTo>
                  <a:lnTo>
                    <a:pt x="3525" y="3317"/>
                  </a:lnTo>
                  <a:lnTo>
                    <a:pt x="3617" y="3407"/>
                  </a:lnTo>
                  <a:lnTo>
                    <a:pt x="3665" y="3407"/>
                  </a:lnTo>
                  <a:lnTo>
                    <a:pt x="3741" y="3362"/>
                  </a:lnTo>
                  <a:lnTo>
                    <a:pt x="3907" y="3348"/>
                  </a:lnTo>
                  <a:lnTo>
                    <a:pt x="4006" y="3303"/>
                  </a:lnTo>
                  <a:lnTo>
                    <a:pt x="4093" y="3314"/>
                  </a:lnTo>
                  <a:lnTo>
                    <a:pt x="4102" y="3352"/>
                  </a:lnTo>
                  <a:lnTo>
                    <a:pt x="4158" y="3352"/>
                  </a:lnTo>
                  <a:lnTo>
                    <a:pt x="4217" y="3320"/>
                  </a:lnTo>
                  <a:lnTo>
                    <a:pt x="4209" y="3256"/>
                  </a:lnTo>
                  <a:lnTo>
                    <a:pt x="4258" y="3235"/>
                  </a:lnTo>
                  <a:lnTo>
                    <a:pt x="4296" y="3197"/>
                  </a:lnTo>
                  <a:lnTo>
                    <a:pt x="4354" y="3042"/>
                  </a:lnTo>
                  <a:lnTo>
                    <a:pt x="4389" y="2842"/>
                  </a:lnTo>
                  <a:lnTo>
                    <a:pt x="4496" y="2790"/>
                  </a:lnTo>
                  <a:lnTo>
                    <a:pt x="4661" y="2777"/>
                  </a:lnTo>
                  <a:lnTo>
                    <a:pt x="4695" y="2755"/>
                  </a:lnTo>
                  <a:lnTo>
                    <a:pt x="4806" y="2732"/>
                  </a:lnTo>
                  <a:lnTo>
                    <a:pt x="4864" y="2743"/>
                  </a:lnTo>
                  <a:lnTo>
                    <a:pt x="4864" y="2784"/>
                  </a:lnTo>
                  <a:lnTo>
                    <a:pt x="4909" y="2746"/>
                  </a:lnTo>
                  <a:lnTo>
                    <a:pt x="5009" y="2755"/>
                  </a:lnTo>
                  <a:lnTo>
                    <a:pt x="5040" y="2821"/>
                  </a:lnTo>
                  <a:lnTo>
                    <a:pt x="5026" y="2890"/>
                  </a:lnTo>
                  <a:lnTo>
                    <a:pt x="4960" y="2960"/>
                  </a:lnTo>
                  <a:lnTo>
                    <a:pt x="4892" y="3117"/>
                  </a:lnTo>
                  <a:lnTo>
                    <a:pt x="4916" y="3131"/>
                  </a:lnTo>
                  <a:lnTo>
                    <a:pt x="4919" y="3152"/>
                  </a:lnTo>
                  <a:lnTo>
                    <a:pt x="4892" y="3172"/>
                  </a:lnTo>
                  <a:lnTo>
                    <a:pt x="4916" y="3200"/>
                  </a:lnTo>
                  <a:lnTo>
                    <a:pt x="4861" y="3430"/>
                  </a:lnTo>
                  <a:lnTo>
                    <a:pt x="4847" y="3445"/>
                  </a:lnTo>
                  <a:lnTo>
                    <a:pt x="4843" y="3366"/>
                  </a:lnTo>
                  <a:lnTo>
                    <a:pt x="4812" y="3348"/>
                  </a:lnTo>
                  <a:lnTo>
                    <a:pt x="4823" y="3293"/>
                  </a:lnTo>
                  <a:lnTo>
                    <a:pt x="4799" y="3287"/>
                  </a:lnTo>
                  <a:lnTo>
                    <a:pt x="4757" y="3366"/>
                  </a:lnTo>
                  <a:lnTo>
                    <a:pt x="4722" y="3369"/>
                  </a:lnTo>
                  <a:lnTo>
                    <a:pt x="4675" y="3465"/>
                  </a:lnTo>
                  <a:lnTo>
                    <a:pt x="4609" y="3476"/>
                  </a:lnTo>
                  <a:lnTo>
                    <a:pt x="4285" y="3479"/>
                  </a:lnTo>
                  <a:lnTo>
                    <a:pt x="4282" y="3572"/>
                  </a:lnTo>
                  <a:lnTo>
                    <a:pt x="4168" y="3569"/>
                  </a:lnTo>
                  <a:lnTo>
                    <a:pt x="4310" y="3693"/>
                  </a:lnTo>
                  <a:lnTo>
                    <a:pt x="4365" y="3769"/>
                  </a:lnTo>
                  <a:lnTo>
                    <a:pt x="4362" y="3820"/>
                  </a:lnTo>
                  <a:lnTo>
                    <a:pt x="4175" y="3827"/>
                  </a:lnTo>
                  <a:lnTo>
                    <a:pt x="4052" y="4023"/>
                  </a:lnTo>
                  <a:lnTo>
                    <a:pt x="4058" y="4047"/>
                  </a:lnTo>
                  <a:lnTo>
                    <a:pt x="4034" y="4124"/>
                  </a:lnTo>
                  <a:lnTo>
                    <a:pt x="3972" y="4082"/>
                  </a:lnTo>
                  <a:lnTo>
                    <a:pt x="3789" y="3889"/>
                  </a:lnTo>
                  <a:lnTo>
                    <a:pt x="3589" y="3800"/>
                  </a:lnTo>
                  <a:lnTo>
                    <a:pt x="3503" y="3810"/>
                  </a:lnTo>
                  <a:lnTo>
                    <a:pt x="3410" y="3861"/>
                  </a:lnTo>
                  <a:lnTo>
                    <a:pt x="3279" y="3907"/>
                  </a:lnTo>
                  <a:lnTo>
                    <a:pt x="3001" y="3830"/>
                  </a:lnTo>
                  <a:lnTo>
                    <a:pt x="2928" y="3800"/>
                  </a:lnTo>
                  <a:lnTo>
                    <a:pt x="2818" y="3713"/>
                  </a:lnTo>
                  <a:lnTo>
                    <a:pt x="2787" y="3717"/>
                  </a:lnTo>
                  <a:lnTo>
                    <a:pt x="2415" y="3562"/>
                  </a:lnTo>
                  <a:lnTo>
                    <a:pt x="2395" y="3528"/>
                  </a:lnTo>
                  <a:lnTo>
                    <a:pt x="2301" y="3469"/>
                  </a:lnTo>
                  <a:lnTo>
                    <a:pt x="2284" y="3435"/>
                  </a:lnTo>
                  <a:lnTo>
                    <a:pt x="2236" y="3403"/>
                  </a:lnTo>
                  <a:lnTo>
                    <a:pt x="2184" y="3400"/>
                  </a:lnTo>
                  <a:lnTo>
                    <a:pt x="1967" y="3311"/>
                  </a:lnTo>
                  <a:lnTo>
                    <a:pt x="1891" y="3200"/>
                  </a:lnTo>
                  <a:lnTo>
                    <a:pt x="1813" y="3135"/>
                  </a:lnTo>
                  <a:lnTo>
                    <a:pt x="1750" y="3117"/>
                  </a:lnTo>
                  <a:lnTo>
                    <a:pt x="1712" y="3083"/>
                  </a:lnTo>
                  <a:lnTo>
                    <a:pt x="1623" y="2980"/>
                  </a:lnTo>
                  <a:lnTo>
                    <a:pt x="1591" y="2862"/>
                  </a:lnTo>
                  <a:lnTo>
                    <a:pt x="1613" y="2839"/>
                  </a:lnTo>
                  <a:lnTo>
                    <a:pt x="1660" y="2825"/>
                  </a:lnTo>
                  <a:lnTo>
                    <a:pt x="1637" y="2777"/>
                  </a:lnTo>
                  <a:lnTo>
                    <a:pt x="1674" y="2735"/>
                  </a:lnTo>
                  <a:lnTo>
                    <a:pt x="1688" y="2687"/>
                  </a:lnTo>
                  <a:lnTo>
                    <a:pt x="1637" y="2549"/>
                  </a:lnTo>
                  <a:lnTo>
                    <a:pt x="1619" y="2419"/>
                  </a:lnTo>
                  <a:lnTo>
                    <a:pt x="1506" y="2294"/>
                  </a:lnTo>
                  <a:lnTo>
                    <a:pt x="1464" y="2198"/>
                  </a:lnTo>
                  <a:lnTo>
                    <a:pt x="1433" y="2181"/>
                  </a:lnTo>
                  <a:lnTo>
                    <a:pt x="1423" y="2126"/>
                  </a:lnTo>
                  <a:lnTo>
                    <a:pt x="1271" y="1961"/>
                  </a:lnTo>
                  <a:lnTo>
                    <a:pt x="1271" y="1881"/>
                  </a:lnTo>
                  <a:lnTo>
                    <a:pt x="1220" y="1816"/>
                  </a:lnTo>
                  <a:lnTo>
                    <a:pt x="1182" y="1816"/>
                  </a:lnTo>
                  <a:lnTo>
                    <a:pt x="1113" y="1764"/>
                  </a:lnTo>
                  <a:lnTo>
                    <a:pt x="1116" y="1706"/>
                  </a:lnTo>
                  <a:lnTo>
                    <a:pt x="1089" y="1719"/>
                  </a:lnTo>
                  <a:lnTo>
                    <a:pt x="1051" y="1712"/>
                  </a:lnTo>
                  <a:lnTo>
                    <a:pt x="1044" y="1646"/>
                  </a:lnTo>
                  <a:lnTo>
                    <a:pt x="1095" y="1561"/>
                  </a:lnTo>
                  <a:lnTo>
                    <a:pt x="1048" y="1489"/>
                  </a:lnTo>
                  <a:lnTo>
                    <a:pt x="1003" y="1481"/>
                  </a:lnTo>
                  <a:lnTo>
                    <a:pt x="961" y="1396"/>
                  </a:lnTo>
                  <a:lnTo>
                    <a:pt x="892" y="1333"/>
                  </a:lnTo>
                  <a:lnTo>
                    <a:pt x="878" y="1275"/>
                  </a:lnTo>
                  <a:lnTo>
                    <a:pt x="892" y="1213"/>
                  </a:lnTo>
                  <a:lnTo>
                    <a:pt x="814" y="1175"/>
                  </a:lnTo>
                  <a:lnTo>
                    <a:pt x="703" y="1009"/>
                  </a:lnTo>
                  <a:lnTo>
                    <a:pt x="669" y="892"/>
                  </a:lnTo>
                  <a:lnTo>
                    <a:pt x="637" y="844"/>
                  </a:lnTo>
                  <a:lnTo>
                    <a:pt x="634" y="762"/>
                  </a:lnTo>
                  <a:lnTo>
                    <a:pt x="609" y="721"/>
                  </a:lnTo>
                  <a:lnTo>
                    <a:pt x="609" y="665"/>
                  </a:lnTo>
                  <a:lnTo>
                    <a:pt x="582" y="559"/>
                  </a:lnTo>
                  <a:lnTo>
                    <a:pt x="586" y="452"/>
                  </a:lnTo>
                  <a:lnTo>
                    <a:pt x="510" y="397"/>
                  </a:lnTo>
                  <a:lnTo>
                    <a:pt x="513" y="376"/>
                  </a:lnTo>
                  <a:lnTo>
                    <a:pt x="493" y="351"/>
                  </a:lnTo>
                  <a:lnTo>
                    <a:pt x="427" y="338"/>
                  </a:lnTo>
                  <a:lnTo>
                    <a:pt x="331" y="227"/>
                  </a:lnTo>
                  <a:lnTo>
                    <a:pt x="342" y="252"/>
                  </a:lnTo>
                  <a:lnTo>
                    <a:pt x="317" y="389"/>
                  </a:lnTo>
                  <a:lnTo>
                    <a:pt x="327" y="441"/>
                  </a:lnTo>
                  <a:lnTo>
                    <a:pt x="313" y="603"/>
                  </a:lnTo>
                  <a:lnTo>
                    <a:pt x="338" y="696"/>
                  </a:lnTo>
                  <a:lnTo>
                    <a:pt x="359" y="703"/>
                  </a:lnTo>
                  <a:lnTo>
                    <a:pt x="431" y="817"/>
                  </a:lnTo>
                  <a:lnTo>
                    <a:pt x="444" y="903"/>
                  </a:lnTo>
                  <a:lnTo>
                    <a:pt x="489" y="927"/>
                  </a:lnTo>
                  <a:lnTo>
                    <a:pt x="507" y="1009"/>
                  </a:lnTo>
                  <a:lnTo>
                    <a:pt x="534" y="1034"/>
                  </a:lnTo>
                  <a:lnTo>
                    <a:pt x="538" y="1151"/>
                  </a:lnTo>
                  <a:lnTo>
                    <a:pt x="586" y="1234"/>
                  </a:lnTo>
                  <a:lnTo>
                    <a:pt x="596" y="1303"/>
                  </a:lnTo>
                  <a:lnTo>
                    <a:pt x="627" y="1336"/>
                  </a:lnTo>
                  <a:lnTo>
                    <a:pt x="637" y="1420"/>
                  </a:lnTo>
                  <a:lnTo>
                    <a:pt x="658" y="1447"/>
                  </a:lnTo>
                  <a:lnTo>
                    <a:pt x="652" y="1388"/>
                  </a:lnTo>
                  <a:lnTo>
                    <a:pt x="689" y="1426"/>
                  </a:lnTo>
                  <a:lnTo>
                    <a:pt x="710" y="1516"/>
                  </a:lnTo>
                  <a:lnTo>
                    <a:pt x="710" y="1619"/>
                  </a:lnTo>
                  <a:lnTo>
                    <a:pt x="754" y="1685"/>
                  </a:lnTo>
                  <a:lnTo>
                    <a:pt x="744" y="1747"/>
                  </a:lnTo>
                  <a:lnTo>
                    <a:pt x="776" y="1819"/>
                  </a:lnTo>
                  <a:lnTo>
                    <a:pt x="765" y="1881"/>
                  </a:lnTo>
                  <a:lnTo>
                    <a:pt x="782" y="1943"/>
                  </a:lnTo>
                  <a:lnTo>
                    <a:pt x="814" y="1978"/>
                  </a:lnTo>
                  <a:lnTo>
                    <a:pt x="848" y="1953"/>
                  </a:lnTo>
                  <a:lnTo>
                    <a:pt x="910" y="2025"/>
                  </a:lnTo>
                  <a:lnTo>
                    <a:pt x="958" y="2129"/>
                  </a:lnTo>
                  <a:lnTo>
                    <a:pt x="961" y="2153"/>
                  </a:lnTo>
                  <a:lnTo>
                    <a:pt x="937" y="2201"/>
                  </a:lnTo>
                  <a:lnTo>
                    <a:pt x="864" y="2250"/>
                  </a:lnTo>
                  <a:lnTo>
                    <a:pt x="848" y="2246"/>
                  </a:lnTo>
                  <a:lnTo>
                    <a:pt x="817" y="2129"/>
                  </a:lnTo>
                  <a:lnTo>
                    <a:pt x="782" y="2077"/>
                  </a:lnTo>
                  <a:lnTo>
                    <a:pt x="631" y="1915"/>
                  </a:lnTo>
                  <a:lnTo>
                    <a:pt x="606" y="1863"/>
                  </a:lnTo>
                  <a:lnTo>
                    <a:pt x="576" y="1850"/>
                  </a:lnTo>
                  <a:lnTo>
                    <a:pt x="568" y="1816"/>
                  </a:lnTo>
                  <a:lnTo>
                    <a:pt x="531" y="1802"/>
                  </a:lnTo>
                  <a:lnTo>
                    <a:pt x="527" y="1781"/>
                  </a:lnTo>
                  <a:lnTo>
                    <a:pt x="507" y="1799"/>
                  </a:lnTo>
                  <a:lnTo>
                    <a:pt x="548" y="1701"/>
                  </a:lnTo>
                  <a:lnTo>
                    <a:pt x="554" y="1599"/>
                  </a:lnTo>
                  <a:lnTo>
                    <a:pt x="531" y="1492"/>
                  </a:lnTo>
                  <a:lnTo>
                    <a:pt x="458" y="1440"/>
                  </a:lnTo>
                  <a:lnTo>
                    <a:pt x="431" y="1378"/>
                  </a:lnTo>
                  <a:lnTo>
                    <a:pt x="427" y="1316"/>
                  </a:lnTo>
                  <a:lnTo>
                    <a:pt x="386" y="1350"/>
                  </a:lnTo>
                  <a:lnTo>
                    <a:pt x="345" y="1333"/>
                  </a:lnTo>
                  <a:lnTo>
                    <a:pt x="276" y="1264"/>
                  </a:lnTo>
                  <a:lnTo>
                    <a:pt x="272" y="1240"/>
                  </a:lnTo>
                  <a:lnTo>
                    <a:pt x="217" y="1206"/>
                  </a:lnTo>
                  <a:lnTo>
                    <a:pt x="211" y="1151"/>
                  </a:lnTo>
                  <a:lnTo>
                    <a:pt x="156" y="1089"/>
                  </a:lnTo>
                  <a:lnTo>
                    <a:pt x="134" y="1092"/>
                  </a:lnTo>
                  <a:lnTo>
                    <a:pt x="142" y="1064"/>
                  </a:lnTo>
                  <a:lnTo>
                    <a:pt x="207" y="1089"/>
                  </a:lnTo>
                  <a:lnTo>
                    <a:pt x="266" y="1086"/>
                  </a:lnTo>
                  <a:lnTo>
                    <a:pt x="283" y="1106"/>
                  </a:lnTo>
                  <a:lnTo>
                    <a:pt x="286" y="1069"/>
                  </a:lnTo>
                  <a:lnTo>
                    <a:pt x="313" y="1058"/>
                  </a:lnTo>
                  <a:lnTo>
                    <a:pt x="324" y="965"/>
                  </a:lnTo>
                  <a:lnTo>
                    <a:pt x="235" y="803"/>
                  </a:lnTo>
                  <a:lnTo>
                    <a:pt x="214" y="737"/>
                  </a:lnTo>
                  <a:lnTo>
                    <a:pt x="186" y="727"/>
                  </a:lnTo>
                  <a:lnTo>
                    <a:pt x="169" y="689"/>
                  </a:lnTo>
                  <a:lnTo>
                    <a:pt x="107" y="631"/>
                  </a:lnTo>
                  <a:lnTo>
                    <a:pt x="107" y="493"/>
                  </a:lnTo>
                  <a:lnTo>
                    <a:pt x="87" y="496"/>
                  </a:lnTo>
                  <a:lnTo>
                    <a:pt x="87" y="397"/>
                  </a:lnTo>
                  <a:lnTo>
                    <a:pt x="38" y="224"/>
                  </a:lnTo>
                  <a:lnTo>
                    <a:pt x="49" y="169"/>
                  </a:lnTo>
                  <a:lnTo>
                    <a:pt x="21" y="107"/>
                  </a:lnTo>
                  <a:lnTo>
                    <a:pt x="17" y="24"/>
                  </a:lnTo>
                  <a:lnTo>
                    <a:pt x="0" y="0"/>
                  </a:lnTo>
                  <a:lnTo>
                    <a:pt x="379" y="70"/>
                  </a:lnTo>
                  <a:lnTo>
                    <a:pt x="369" y="90"/>
                  </a:lnTo>
                  <a:lnTo>
                    <a:pt x="937" y="499"/>
                  </a:lnTo>
                  <a:lnTo>
                    <a:pt x="1388" y="572"/>
                  </a:lnTo>
                  <a:lnTo>
                    <a:pt x="1402" y="493"/>
                  </a:lnTo>
                  <a:lnTo>
                    <a:pt x="1706" y="545"/>
                  </a:lnTo>
                  <a:lnTo>
                    <a:pt x="1808" y="686"/>
                  </a:lnTo>
                  <a:lnTo>
                    <a:pt x="1923" y="800"/>
                  </a:lnTo>
                  <a:lnTo>
                    <a:pt x="1943" y="916"/>
                  </a:lnTo>
                  <a:lnTo>
                    <a:pt x="1947" y="965"/>
                  </a:lnTo>
                  <a:lnTo>
                    <a:pt x="1984" y="1031"/>
                  </a:lnTo>
                  <a:lnTo>
                    <a:pt x="2105" y="1147"/>
                  </a:lnTo>
                  <a:lnTo>
                    <a:pt x="2156" y="1168"/>
                  </a:lnTo>
                  <a:lnTo>
                    <a:pt x="2184" y="1161"/>
                  </a:lnTo>
                  <a:lnTo>
                    <a:pt x="2277" y="1020"/>
                  </a:lnTo>
                  <a:lnTo>
                    <a:pt x="2312" y="1013"/>
                  </a:lnTo>
                  <a:lnTo>
                    <a:pt x="2488" y="1034"/>
                  </a:lnTo>
                  <a:lnTo>
                    <a:pt x="2604" y="1185"/>
                  </a:lnTo>
                  <a:lnTo>
                    <a:pt x="2653" y="1336"/>
                  </a:lnTo>
                  <a:lnTo>
                    <a:pt x="2697" y="1396"/>
                  </a:lnTo>
                  <a:lnTo>
                    <a:pt x="2721" y="1457"/>
                  </a:lnTo>
                  <a:lnTo>
                    <a:pt x="2773" y="1502"/>
                  </a:lnTo>
                  <a:lnTo>
                    <a:pt x="2807" y="1657"/>
                  </a:lnTo>
                  <a:lnTo>
                    <a:pt x="2859" y="1747"/>
                  </a:lnTo>
                  <a:lnTo>
                    <a:pt x="2908" y="1785"/>
                  </a:lnTo>
                  <a:lnTo>
                    <a:pt x="2955" y="1795"/>
                  </a:lnTo>
                  <a:lnTo>
                    <a:pt x="3001" y="1826"/>
                  </a:lnTo>
                  <a:lnTo>
                    <a:pt x="3087" y="1836"/>
                  </a:lnTo>
                  <a:lnTo>
                    <a:pt x="3145" y="1871"/>
                  </a:lnTo>
                  <a:lnTo>
                    <a:pt x="3201" y="1877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9" name="Freeform 223">
              <a:extLst>
                <a:ext uri="{FF2B5EF4-FFF2-40B4-BE49-F238E27FC236}">
                  <a16:creationId xmlns:a16="http://schemas.microsoft.com/office/drawing/2014/main" id="{0FA01EDA-C0EC-4BD6-B373-9B14D1A21464}"/>
                </a:ext>
              </a:extLst>
            </p:cNvPr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4694518" y="5597872"/>
              <a:ext cx="205928" cy="204710"/>
            </a:xfrm>
            <a:custGeom>
              <a:avLst/>
              <a:gdLst/>
              <a:ahLst/>
              <a:cxnLst>
                <a:cxn ang="0">
                  <a:pos x="754" y="814"/>
                </a:cxn>
                <a:cxn ang="0">
                  <a:pos x="719" y="751"/>
                </a:cxn>
                <a:cxn ang="0">
                  <a:pos x="716" y="710"/>
                </a:cxn>
                <a:cxn ang="0">
                  <a:pos x="741" y="641"/>
                </a:cxn>
                <a:cxn ang="0">
                  <a:pos x="761" y="290"/>
                </a:cxn>
                <a:cxn ang="0">
                  <a:pos x="803" y="148"/>
                </a:cxn>
                <a:cxn ang="0">
                  <a:pos x="806" y="0"/>
                </a:cxn>
                <a:cxn ang="0">
                  <a:pos x="765" y="0"/>
                </a:cxn>
                <a:cxn ang="0">
                  <a:pos x="617" y="79"/>
                </a:cxn>
                <a:cxn ang="0">
                  <a:pos x="558" y="79"/>
                </a:cxn>
                <a:cxn ang="0">
                  <a:pos x="516" y="49"/>
                </a:cxn>
                <a:cxn ang="0">
                  <a:pos x="475" y="93"/>
                </a:cxn>
                <a:cxn ang="0">
                  <a:pos x="455" y="152"/>
                </a:cxn>
                <a:cxn ang="0">
                  <a:pos x="423" y="159"/>
                </a:cxn>
                <a:cxn ang="0">
                  <a:pos x="337" y="232"/>
                </a:cxn>
                <a:cxn ang="0">
                  <a:pos x="316" y="235"/>
                </a:cxn>
                <a:cxn ang="0">
                  <a:pos x="266" y="203"/>
                </a:cxn>
                <a:cxn ang="0">
                  <a:pos x="231" y="269"/>
                </a:cxn>
                <a:cxn ang="0">
                  <a:pos x="154" y="269"/>
                </a:cxn>
                <a:cxn ang="0">
                  <a:pos x="148" y="348"/>
                </a:cxn>
                <a:cxn ang="0">
                  <a:pos x="96" y="403"/>
                </a:cxn>
                <a:cxn ang="0">
                  <a:pos x="35" y="406"/>
                </a:cxn>
                <a:cxn ang="0">
                  <a:pos x="0" y="406"/>
                </a:cxn>
                <a:cxn ang="0">
                  <a:pos x="0" y="438"/>
                </a:cxn>
                <a:cxn ang="0">
                  <a:pos x="227" y="679"/>
                </a:cxn>
                <a:cxn ang="0">
                  <a:pos x="331" y="759"/>
                </a:cxn>
                <a:cxn ang="0">
                  <a:pos x="348" y="789"/>
                </a:cxn>
                <a:cxn ang="0">
                  <a:pos x="382" y="768"/>
                </a:cxn>
                <a:cxn ang="0">
                  <a:pos x="503" y="806"/>
                </a:cxn>
                <a:cxn ang="0">
                  <a:pos x="582" y="796"/>
                </a:cxn>
                <a:cxn ang="0">
                  <a:pos x="661" y="841"/>
                </a:cxn>
                <a:cxn ang="0">
                  <a:pos x="754" y="814"/>
                </a:cxn>
              </a:cxnLst>
              <a:rect l="0" t="0" r="r" b="b"/>
              <a:pathLst>
                <a:path w="806" h="841">
                  <a:moveTo>
                    <a:pt x="754" y="814"/>
                  </a:moveTo>
                  <a:lnTo>
                    <a:pt x="719" y="751"/>
                  </a:lnTo>
                  <a:lnTo>
                    <a:pt x="716" y="710"/>
                  </a:lnTo>
                  <a:lnTo>
                    <a:pt x="741" y="641"/>
                  </a:lnTo>
                  <a:lnTo>
                    <a:pt x="761" y="290"/>
                  </a:lnTo>
                  <a:lnTo>
                    <a:pt x="803" y="148"/>
                  </a:lnTo>
                  <a:lnTo>
                    <a:pt x="806" y="0"/>
                  </a:lnTo>
                  <a:lnTo>
                    <a:pt x="765" y="0"/>
                  </a:lnTo>
                  <a:lnTo>
                    <a:pt x="617" y="79"/>
                  </a:lnTo>
                  <a:lnTo>
                    <a:pt x="558" y="79"/>
                  </a:lnTo>
                  <a:lnTo>
                    <a:pt x="516" y="49"/>
                  </a:lnTo>
                  <a:lnTo>
                    <a:pt x="475" y="93"/>
                  </a:lnTo>
                  <a:lnTo>
                    <a:pt x="455" y="152"/>
                  </a:lnTo>
                  <a:lnTo>
                    <a:pt x="423" y="159"/>
                  </a:lnTo>
                  <a:lnTo>
                    <a:pt x="337" y="232"/>
                  </a:lnTo>
                  <a:lnTo>
                    <a:pt x="316" y="235"/>
                  </a:lnTo>
                  <a:lnTo>
                    <a:pt x="266" y="203"/>
                  </a:lnTo>
                  <a:lnTo>
                    <a:pt x="231" y="269"/>
                  </a:lnTo>
                  <a:lnTo>
                    <a:pt x="154" y="269"/>
                  </a:lnTo>
                  <a:lnTo>
                    <a:pt x="148" y="348"/>
                  </a:lnTo>
                  <a:lnTo>
                    <a:pt x="96" y="403"/>
                  </a:lnTo>
                  <a:lnTo>
                    <a:pt x="35" y="406"/>
                  </a:lnTo>
                  <a:lnTo>
                    <a:pt x="0" y="406"/>
                  </a:lnTo>
                  <a:lnTo>
                    <a:pt x="0" y="438"/>
                  </a:lnTo>
                  <a:lnTo>
                    <a:pt x="227" y="679"/>
                  </a:lnTo>
                  <a:lnTo>
                    <a:pt x="331" y="759"/>
                  </a:lnTo>
                  <a:lnTo>
                    <a:pt x="348" y="789"/>
                  </a:lnTo>
                  <a:lnTo>
                    <a:pt x="382" y="768"/>
                  </a:lnTo>
                  <a:lnTo>
                    <a:pt x="503" y="806"/>
                  </a:lnTo>
                  <a:lnTo>
                    <a:pt x="582" y="796"/>
                  </a:lnTo>
                  <a:lnTo>
                    <a:pt x="661" y="841"/>
                  </a:lnTo>
                  <a:lnTo>
                    <a:pt x="754" y="814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90" name="Freeform 224">
              <a:extLst>
                <a:ext uri="{FF2B5EF4-FFF2-40B4-BE49-F238E27FC236}">
                  <a16:creationId xmlns:a16="http://schemas.microsoft.com/office/drawing/2014/main" id="{0D2F48B5-D8FB-48E7-9F24-6A34E257046A}"/>
                </a:ext>
              </a:extLst>
            </p:cNvPr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4694518" y="5597872"/>
              <a:ext cx="205928" cy="204710"/>
            </a:xfrm>
            <a:custGeom>
              <a:avLst/>
              <a:gdLst/>
              <a:ahLst/>
              <a:cxnLst>
                <a:cxn ang="0">
                  <a:pos x="754" y="814"/>
                </a:cxn>
                <a:cxn ang="0">
                  <a:pos x="719" y="751"/>
                </a:cxn>
                <a:cxn ang="0">
                  <a:pos x="716" y="710"/>
                </a:cxn>
                <a:cxn ang="0">
                  <a:pos x="741" y="641"/>
                </a:cxn>
                <a:cxn ang="0">
                  <a:pos x="761" y="290"/>
                </a:cxn>
                <a:cxn ang="0">
                  <a:pos x="803" y="148"/>
                </a:cxn>
                <a:cxn ang="0">
                  <a:pos x="806" y="0"/>
                </a:cxn>
                <a:cxn ang="0">
                  <a:pos x="765" y="0"/>
                </a:cxn>
                <a:cxn ang="0">
                  <a:pos x="617" y="79"/>
                </a:cxn>
                <a:cxn ang="0">
                  <a:pos x="558" y="79"/>
                </a:cxn>
                <a:cxn ang="0">
                  <a:pos x="516" y="49"/>
                </a:cxn>
                <a:cxn ang="0">
                  <a:pos x="475" y="93"/>
                </a:cxn>
                <a:cxn ang="0">
                  <a:pos x="455" y="152"/>
                </a:cxn>
                <a:cxn ang="0">
                  <a:pos x="423" y="159"/>
                </a:cxn>
                <a:cxn ang="0">
                  <a:pos x="337" y="232"/>
                </a:cxn>
                <a:cxn ang="0">
                  <a:pos x="316" y="235"/>
                </a:cxn>
                <a:cxn ang="0">
                  <a:pos x="266" y="203"/>
                </a:cxn>
                <a:cxn ang="0">
                  <a:pos x="231" y="269"/>
                </a:cxn>
                <a:cxn ang="0">
                  <a:pos x="154" y="269"/>
                </a:cxn>
                <a:cxn ang="0">
                  <a:pos x="148" y="348"/>
                </a:cxn>
                <a:cxn ang="0">
                  <a:pos x="96" y="403"/>
                </a:cxn>
                <a:cxn ang="0">
                  <a:pos x="35" y="406"/>
                </a:cxn>
                <a:cxn ang="0">
                  <a:pos x="0" y="406"/>
                </a:cxn>
                <a:cxn ang="0">
                  <a:pos x="0" y="438"/>
                </a:cxn>
                <a:cxn ang="0">
                  <a:pos x="227" y="679"/>
                </a:cxn>
                <a:cxn ang="0">
                  <a:pos x="331" y="759"/>
                </a:cxn>
                <a:cxn ang="0">
                  <a:pos x="348" y="789"/>
                </a:cxn>
                <a:cxn ang="0">
                  <a:pos x="382" y="768"/>
                </a:cxn>
                <a:cxn ang="0">
                  <a:pos x="503" y="806"/>
                </a:cxn>
                <a:cxn ang="0">
                  <a:pos x="582" y="796"/>
                </a:cxn>
                <a:cxn ang="0">
                  <a:pos x="661" y="841"/>
                </a:cxn>
                <a:cxn ang="0">
                  <a:pos x="754" y="814"/>
                </a:cxn>
              </a:cxnLst>
              <a:rect l="0" t="0" r="r" b="b"/>
              <a:pathLst>
                <a:path w="806" h="841">
                  <a:moveTo>
                    <a:pt x="754" y="814"/>
                  </a:moveTo>
                  <a:lnTo>
                    <a:pt x="719" y="751"/>
                  </a:lnTo>
                  <a:lnTo>
                    <a:pt x="716" y="710"/>
                  </a:lnTo>
                  <a:lnTo>
                    <a:pt x="741" y="641"/>
                  </a:lnTo>
                  <a:lnTo>
                    <a:pt x="761" y="290"/>
                  </a:lnTo>
                  <a:lnTo>
                    <a:pt x="803" y="148"/>
                  </a:lnTo>
                  <a:lnTo>
                    <a:pt x="806" y="0"/>
                  </a:lnTo>
                  <a:lnTo>
                    <a:pt x="765" y="0"/>
                  </a:lnTo>
                  <a:lnTo>
                    <a:pt x="617" y="79"/>
                  </a:lnTo>
                  <a:lnTo>
                    <a:pt x="558" y="79"/>
                  </a:lnTo>
                  <a:lnTo>
                    <a:pt x="516" y="49"/>
                  </a:lnTo>
                  <a:lnTo>
                    <a:pt x="475" y="93"/>
                  </a:lnTo>
                  <a:lnTo>
                    <a:pt x="455" y="152"/>
                  </a:lnTo>
                  <a:lnTo>
                    <a:pt x="423" y="159"/>
                  </a:lnTo>
                  <a:lnTo>
                    <a:pt x="337" y="232"/>
                  </a:lnTo>
                  <a:lnTo>
                    <a:pt x="316" y="235"/>
                  </a:lnTo>
                  <a:lnTo>
                    <a:pt x="266" y="203"/>
                  </a:lnTo>
                  <a:lnTo>
                    <a:pt x="231" y="269"/>
                  </a:lnTo>
                  <a:lnTo>
                    <a:pt x="154" y="269"/>
                  </a:lnTo>
                  <a:lnTo>
                    <a:pt x="148" y="348"/>
                  </a:lnTo>
                  <a:lnTo>
                    <a:pt x="96" y="403"/>
                  </a:lnTo>
                  <a:lnTo>
                    <a:pt x="35" y="406"/>
                  </a:lnTo>
                  <a:lnTo>
                    <a:pt x="0" y="406"/>
                  </a:lnTo>
                  <a:lnTo>
                    <a:pt x="0" y="438"/>
                  </a:lnTo>
                  <a:lnTo>
                    <a:pt x="227" y="679"/>
                  </a:lnTo>
                  <a:lnTo>
                    <a:pt x="331" y="759"/>
                  </a:lnTo>
                  <a:lnTo>
                    <a:pt x="348" y="789"/>
                  </a:lnTo>
                  <a:lnTo>
                    <a:pt x="382" y="768"/>
                  </a:lnTo>
                  <a:lnTo>
                    <a:pt x="503" y="806"/>
                  </a:lnTo>
                  <a:lnTo>
                    <a:pt x="582" y="796"/>
                  </a:lnTo>
                  <a:lnTo>
                    <a:pt x="661" y="841"/>
                  </a:lnTo>
                  <a:lnTo>
                    <a:pt x="754" y="814"/>
                  </a:lnTo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91" name="Freeform 227">
              <a:extLst>
                <a:ext uri="{FF2B5EF4-FFF2-40B4-BE49-F238E27FC236}">
                  <a16:creationId xmlns:a16="http://schemas.microsoft.com/office/drawing/2014/main" id="{A8C18B53-64EC-4456-AE27-40D28C973DB1}"/>
                </a:ext>
              </a:extLst>
            </p:cNvPr>
            <p:cNvSpPr>
              <a:spLocks/>
            </p:cNvSpPr>
            <p:nvPr>
              <p:custDataLst>
                <p:tags r:id="rId130"/>
              </p:custDataLst>
            </p:nvPr>
          </p:nvSpPr>
          <p:spPr bwMode="auto">
            <a:xfrm>
              <a:off x="4922379" y="5853759"/>
              <a:ext cx="290005" cy="119414"/>
            </a:xfrm>
            <a:custGeom>
              <a:avLst/>
              <a:gdLst/>
              <a:ahLst/>
              <a:cxnLst>
                <a:cxn ang="0">
                  <a:pos x="1095" y="183"/>
                </a:cxn>
                <a:cxn ang="0">
                  <a:pos x="1086" y="224"/>
                </a:cxn>
                <a:cxn ang="0">
                  <a:pos x="1106" y="241"/>
                </a:cxn>
                <a:cxn ang="0">
                  <a:pos x="1136" y="310"/>
                </a:cxn>
                <a:cxn ang="0">
                  <a:pos x="1072" y="392"/>
                </a:cxn>
                <a:cxn ang="0">
                  <a:pos x="1040" y="383"/>
                </a:cxn>
                <a:cxn ang="0">
                  <a:pos x="1037" y="410"/>
                </a:cxn>
                <a:cxn ang="0">
                  <a:pos x="1006" y="452"/>
                </a:cxn>
                <a:cxn ang="0">
                  <a:pos x="941" y="392"/>
                </a:cxn>
                <a:cxn ang="0">
                  <a:pos x="919" y="331"/>
                </a:cxn>
                <a:cxn ang="0">
                  <a:pos x="927" y="279"/>
                </a:cxn>
                <a:cxn ang="0">
                  <a:pos x="971" y="235"/>
                </a:cxn>
                <a:cxn ang="0">
                  <a:pos x="954" y="217"/>
                </a:cxn>
                <a:cxn ang="0">
                  <a:pos x="899" y="230"/>
                </a:cxn>
                <a:cxn ang="0">
                  <a:pos x="861" y="186"/>
                </a:cxn>
                <a:cxn ang="0">
                  <a:pos x="730" y="120"/>
                </a:cxn>
                <a:cxn ang="0">
                  <a:pos x="678" y="137"/>
                </a:cxn>
                <a:cxn ang="0">
                  <a:pos x="600" y="244"/>
                </a:cxn>
                <a:cxn ang="0">
                  <a:pos x="499" y="296"/>
                </a:cxn>
                <a:cxn ang="0">
                  <a:pos x="499" y="345"/>
                </a:cxn>
                <a:cxn ang="0">
                  <a:pos x="568" y="400"/>
                </a:cxn>
                <a:cxn ang="0">
                  <a:pos x="572" y="424"/>
                </a:cxn>
                <a:cxn ang="0">
                  <a:pos x="489" y="489"/>
                </a:cxn>
                <a:cxn ang="0">
                  <a:pos x="427" y="489"/>
                </a:cxn>
                <a:cxn ang="0">
                  <a:pos x="393" y="379"/>
                </a:cxn>
                <a:cxn ang="0">
                  <a:pos x="334" y="413"/>
                </a:cxn>
                <a:cxn ang="0">
                  <a:pos x="241" y="303"/>
                </a:cxn>
                <a:cxn ang="0">
                  <a:pos x="44" y="276"/>
                </a:cxn>
                <a:cxn ang="0">
                  <a:pos x="24" y="313"/>
                </a:cxn>
                <a:cxn ang="0">
                  <a:pos x="0" y="269"/>
                </a:cxn>
                <a:cxn ang="0">
                  <a:pos x="27" y="238"/>
                </a:cxn>
                <a:cxn ang="0">
                  <a:pos x="35" y="175"/>
                </a:cxn>
                <a:cxn ang="0">
                  <a:pos x="55" y="128"/>
                </a:cxn>
                <a:cxn ang="0">
                  <a:pos x="17" y="100"/>
                </a:cxn>
                <a:cxn ang="0">
                  <a:pos x="21" y="48"/>
                </a:cxn>
                <a:cxn ang="0">
                  <a:pos x="44" y="14"/>
                </a:cxn>
                <a:cxn ang="0">
                  <a:pos x="79" y="14"/>
                </a:cxn>
                <a:cxn ang="0">
                  <a:pos x="128" y="45"/>
                </a:cxn>
                <a:cxn ang="0">
                  <a:pos x="169" y="137"/>
                </a:cxn>
                <a:cxn ang="0">
                  <a:pos x="252" y="134"/>
                </a:cxn>
                <a:cxn ang="0">
                  <a:pos x="359" y="165"/>
                </a:cxn>
                <a:cxn ang="0">
                  <a:pos x="551" y="73"/>
                </a:cxn>
                <a:cxn ang="0">
                  <a:pos x="582" y="79"/>
                </a:cxn>
                <a:cxn ang="0">
                  <a:pos x="593" y="114"/>
                </a:cxn>
                <a:cxn ang="0">
                  <a:pos x="617" y="100"/>
                </a:cxn>
                <a:cxn ang="0">
                  <a:pos x="620" y="41"/>
                </a:cxn>
                <a:cxn ang="0">
                  <a:pos x="641" y="14"/>
                </a:cxn>
                <a:cxn ang="0">
                  <a:pos x="737" y="0"/>
                </a:cxn>
                <a:cxn ang="0">
                  <a:pos x="947" y="55"/>
                </a:cxn>
                <a:cxn ang="0">
                  <a:pos x="1095" y="183"/>
                </a:cxn>
              </a:cxnLst>
              <a:rect l="0" t="0" r="r" b="b"/>
              <a:pathLst>
                <a:path w="1136" h="489">
                  <a:moveTo>
                    <a:pt x="1095" y="183"/>
                  </a:moveTo>
                  <a:lnTo>
                    <a:pt x="1086" y="224"/>
                  </a:lnTo>
                  <a:lnTo>
                    <a:pt x="1106" y="241"/>
                  </a:lnTo>
                  <a:lnTo>
                    <a:pt x="1136" y="310"/>
                  </a:lnTo>
                  <a:lnTo>
                    <a:pt x="1072" y="392"/>
                  </a:lnTo>
                  <a:lnTo>
                    <a:pt x="1040" y="383"/>
                  </a:lnTo>
                  <a:lnTo>
                    <a:pt x="1037" y="410"/>
                  </a:lnTo>
                  <a:lnTo>
                    <a:pt x="1006" y="452"/>
                  </a:lnTo>
                  <a:lnTo>
                    <a:pt x="941" y="392"/>
                  </a:lnTo>
                  <a:lnTo>
                    <a:pt x="919" y="331"/>
                  </a:lnTo>
                  <a:lnTo>
                    <a:pt x="927" y="279"/>
                  </a:lnTo>
                  <a:lnTo>
                    <a:pt x="971" y="235"/>
                  </a:lnTo>
                  <a:lnTo>
                    <a:pt x="954" y="217"/>
                  </a:lnTo>
                  <a:lnTo>
                    <a:pt x="899" y="230"/>
                  </a:lnTo>
                  <a:lnTo>
                    <a:pt x="861" y="186"/>
                  </a:lnTo>
                  <a:lnTo>
                    <a:pt x="730" y="120"/>
                  </a:lnTo>
                  <a:lnTo>
                    <a:pt x="678" y="137"/>
                  </a:lnTo>
                  <a:lnTo>
                    <a:pt x="600" y="244"/>
                  </a:lnTo>
                  <a:lnTo>
                    <a:pt x="499" y="296"/>
                  </a:lnTo>
                  <a:lnTo>
                    <a:pt x="499" y="345"/>
                  </a:lnTo>
                  <a:lnTo>
                    <a:pt x="568" y="400"/>
                  </a:lnTo>
                  <a:lnTo>
                    <a:pt x="572" y="424"/>
                  </a:lnTo>
                  <a:lnTo>
                    <a:pt x="489" y="489"/>
                  </a:lnTo>
                  <a:lnTo>
                    <a:pt x="427" y="489"/>
                  </a:lnTo>
                  <a:lnTo>
                    <a:pt x="393" y="379"/>
                  </a:lnTo>
                  <a:lnTo>
                    <a:pt x="334" y="413"/>
                  </a:lnTo>
                  <a:lnTo>
                    <a:pt x="241" y="303"/>
                  </a:lnTo>
                  <a:lnTo>
                    <a:pt x="44" y="276"/>
                  </a:lnTo>
                  <a:lnTo>
                    <a:pt x="24" y="313"/>
                  </a:lnTo>
                  <a:lnTo>
                    <a:pt x="0" y="269"/>
                  </a:lnTo>
                  <a:lnTo>
                    <a:pt x="27" y="238"/>
                  </a:lnTo>
                  <a:lnTo>
                    <a:pt x="35" y="175"/>
                  </a:lnTo>
                  <a:lnTo>
                    <a:pt x="55" y="128"/>
                  </a:lnTo>
                  <a:lnTo>
                    <a:pt x="17" y="100"/>
                  </a:lnTo>
                  <a:lnTo>
                    <a:pt x="21" y="48"/>
                  </a:lnTo>
                  <a:lnTo>
                    <a:pt x="44" y="14"/>
                  </a:lnTo>
                  <a:lnTo>
                    <a:pt x="79" y="14"/>
                  </a:lnTo>
                  <a:lnTo>
                    <a:pt x="128" y="45"/>
                  </a:lnTo>
                  <a:lnTo>
                    <a:pt x="169" y="137"/>
                  </a:lnTo>
                  <a:lnTo>
                    <a:pt x="252" y="134"/>
                  </a:lnTo>
                  <a:lnTo>
                    <a:pt x="359" y="165"/>
                  </a:lnTo>
                  <a:lnTo>
                    <a:pt x="551" y="73"/>
                  </a:lnTo>
                  <a:lnTo>
                    <a:pt x="582" y="79"/>
                  </a:lnTo>
                  <a:lnTo>
                    <a:pt x="593" y="114"/>
                  </a:lnTo>
                  <a:lnTo>
                    <a:pt x="617" y="100"/>
                  </a:lnTo>
                  <a:lnTo>
                    <a:pt x="620" y="41"/>
                  </a:lnTo>
                  <a:lnTo>
                    <a:pt x="641" y="14"/>
                  </a:lnTo>
                  <a:lnTo>
                    <a:pt x="737" y="0"/>
                  </a:lnTo>
                  <a:lnTo>
                    <a:pt x="947" y="55"/>
                  </a:lnTo>
                  <a:lnTo>
                    <a:pt x="1095" y="183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92" name="Freeform 229">
              <a:extLst>
                <a:ext uri="{FF2B5EF4-FFF2-40B4-BE49-F238E27FC236}">
                  <a16:creationId xmlns:a16="http://schemas.microsoft.com/office/drawing/2014/main" id="{32343A7D-C153-4F7A-B71D-50894E42AA6D}"/>
                </a:ext>
              </a:extLst>
            </p:cNvPr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5967862" y="5646612"/>
              <a:ext cx="7311" cy="12186"/>
            </a:xfrm>
            <a:custGeom>
              <a:avLst/>
              <a:gdLst/>
              <a:ahLst/>
              <a:cxnLst>
                <a:cxn ang="0">
                  <a:pos x="25" y="0"/>
                </a:cxn>
                <a:cxn ang="0">
                  <a:pos x="0" y="49"/>
                </a:cxn>
                <a:cxn ang="0">
                  <a:pos x="21" y="32"/>
                </a:cxn>
                <a:cxn ang="0">
                  <a:pos x="25" y="0"/>
                </a:cxn>
              </a:cxnLst>
              <a:rect l="0" t="0" r="r" b="b"/>
              <a:pathLst>
                <a:path w="25" h="49">
                  <a:moveTo>
                    <a:pt x="25" y="0"/>
                  </a:moveTo>
                  <a:lnTo>
                    <a:pt x="0" y="49"/>
                  </a:lnTo>
                  <a:lnTo>
                    <a:pt x="21" y="32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93" name="Freeform 230">
              <a:extLst>
                <a:ext uri="{FF2B5EF4-FFF2-40B4-BE49-F238E27FC236}">
                  <a16:creationId xmlns:a16="http://schemas.microsoft.com/office/drawing/2014/main" id="{454CC00B-5BAE-4B8C-A572-3522C844E346}"/>
                </a:ext>
              </a:extLst>
            </p:cNvPr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5967862" y="5646612"/>
              <a:ext cx="7311" cy="12186"/>
            </a:xfrm>
            <a:custGeom>
              <a:avLst/>
              <a:gdLst/>
              <a:ahLst/>
              <a:cxnLst>
                <a:cxn ang="0">
                  <a:pos x="25" y="0"/>
                </a:cxn>
                <a:cxn ang="0">
                  <a:pos x="0" y="49"/>
                </a:cxn>
                <a:cxn ang="0">
                  <a:pos x="21" y="32"/>
                </a:cxn>
                <a:cxn ang="0">
                  <a:pos x="25" y="0"/>
                </a:cxn>
              </a:cxnLst>
              <a:rect l="0" t="0" r="r" b="b"/>
              <a:pathLst>
                <a:path w="25" h="49">
                  <a:moveTo>
                    <a:pt x="25" y="0"/>
                  </a:moveTo>
                  <a:lnTo>
                    <a:pt x="0" y="49"/>
                  </a:lnTo>
                  <a:lnTo>
                    <a:pt x="21" y="32"/>
                  </a:lnTo>
                  <a:lnTo>
                    <a:pt x="25" y="0"/>
                  </a:lnTo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94" name="Freeform 233">
              <a:extLst>
                <a:ext uri="{FF2B5EF4-FFF2-40B4-BE49-F238E27FC236}">
                  <a16:creationId xmlns:a16="http://schemas.microsoft.com/office/drawing/2014/main" id="{567FB773-57A8-4AC9-9E00-D2FC49518255}"/>
                </a:ext>
              </a:extLst>
            </p:cNvPr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5936180" y="5418750"/>
              <a:ext cx="24370" cy="28026"/>
            </a:xfrm>
            <a:custGeom>
              <a:avLst/>
              <a:gdLst/>
              <a:ahLst/>
              <a:cxnLst>
                <a:cxn ang="0">
                  <a:pos x="59" y="0"/>
                </a:cxn>
                <a:cxn ang="0">
                  <a:pos x="45" y="3"/>
                </a:cxn>
                <a:cxn ang="0">
                  <a:pos x="38" y="38"/>
                </a:cxn>
                <a:cxn ang="0">
                  <a:pos x="0" y="41"/>
                </a:cxn>
                <a:cxn ang="0">
                  <a:pos x="4" y="116"/>
                </a:cxn>
                <a:cxn ang="0">
                  <a:pos x="31" y="113"/>
                </a:cxn>
                <a:cxn ang="0">
                  <a:pos x="45" y="65"/>
                </a:cxn>
                <a:cxn ang="0">
                  <a:pos x="96" y="41"/>
                </a:cxn>
                <a:cxn ang="0">
                  <a:pos x="59" y="0"/>
                </a:cxn>
              </a:cxnLst>
              <a:rect l="0" t="0" r="r" b="b"/>
              <a:pathLst>
                <a:path w="96" h="116">
                  <a:moveTo>
                    <a:pt x="59" y="0"/>
                  </a:moveTo>
                  <a:lnTo>
                    <a:pt x="45" y="3"/>
                  </a:lnTo>
                  <a:lnTo>
                    <a:pt x="38" y="38"/>
                  </a:lnTo>
                  <a:lnTo>
                    <a:pt x="0" y="41"/>
                  </a:lnTo>
                  <a:lnTo>
                    <a:pt x="4" y="116"/>
                  </a:lnTo>
                  <a:lnTo>
                    <a:pt x="31" y="113"/>
                  </a:lnTo>
                  <a:lnTo>
                    <a:pt x="45" y="65"/>
                  </a:lnTo>
                  <a:lnTo>
                    <a:pt x="96" y="41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95" name="Freeform 234">
              <a:extLst>
                <a:ext uri="{FF2B5EF4-FFF2-40B4-BE49-F238E27FC236}">
                  <a16:creationId xmlns:a16="http://schemas.microsoft.com/office/drawing/2014/main" id="{C7ADDC1B-7D73-4BA4-ADE2-7012AF6C578A}"/>
                </a:ext>
              </a:extLst>
            </p:cNvPr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5936180" y="5418750"/>
              <a:ext cx="24370" cy="28026"/>
            </a:xfrm>
            <a:custGeom>
              <a:avLst/>
              <a:gdLst/>
              <a:ahLst/>
              <a:cxnLst>
                <a:cxn ang="0">
                  <a:pos x="59" y="0"/>
                </a:cxn>
                <a:cxn ang="0">
                  <a:pos x="45" y="3"/>
                </a:cxn>
                <a:cxn ang="0">
                  <a:pos x="38" y="38"/>
                </a:cxn>
                <a:cxn ang="0">
                  <a:pos x="0" y="41"/>
                </a:cxn>
                <a:cxn ang="0">
                  <a:pos x="4" y="116"/>
                </a:cxn>
                <a:cxn ang="0">
                  <a:pos x="31" y="113"/>
                </a:cxn>
                <a:cxn ang="0">
                  <a:pos x="45" y="65"/>
                </a:cxn>
                <a:cxn ang="0">
                  <a:pos x="96" y="41"/>
                </a:cxn>
                <a:cxn ang="0">
                  <a:pos x="59" y="0"/>
                </a:cxn>
              </a:cxnLst>
              <a:rect l="0" t="0" r="r" b="b"/>
              <a:pathLst>
                <a:path w="96" h="116">
                  <a:moveTo>
                    <a:pt x="59" y="0"/>
                  </a:moveTo>
                  <a:lnTo>
                    <a:pt x="45" y="3"/>
                  </a:lnTo>
                  <a:lnTo>
                    <a:pt x="38" y="38"/>
                  </a:lnTo>
                  <a:lnTo>
                    <a:pt x="0" y="41"/>
                  </a:lnTo>
                  <a:lnTo>
                    <a:pt x="4" y="116"/>
                  </a:lnTo>
                  <a:lnTo>
                    <a:pt x="31" y="113"/>
                  </a:lnTo>
                  <a:lnTo>
                    <a:pt x="45" y="65"/>
                  </a:lnTo>
                  <a:lnTo>
                    <a:pt x="96" y="41"/>
                  </a:lnTo>
                  <a:lnTo>
                    <a:pt x="59" y="0"/>
                  </a:lnTo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96" name="Freeform 235">
              <a:extLst>
                <a:ext uri="{FF2B5EF4-FFF2-40B4-BE49-F238E27FC236}">
                  <a16:creationId xmlns:a16="http://schemas.microsoft.com/office/drawing/2014/main" id="{CC381509-4C1D-4F79-9DF8-60F4E1D109D9}"/>
                </a:ext>
              </a:extLst>
            </p:cNvPr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5975172" y="5499172"/>
              <a:ext cx="17059" cy="2193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1" y="20"/>
                </a:cxn>
                <a:cxn ang="0">
                  <a:pos x="73" y="86"/>
                </a:cxn>
                <a:cxn ang="0">
                  <a:pos x="38" y="89"/>
                </a:cxn>
                <a:cxn ang="0">
                  <a:pos x="0" y="0"/>
                </a:cxn>
              </a:cxnLst>
              <a:rect l="0" t="0" r="r" b="b"/>
              <a:pathLst>
                <a:path w="73" h="89">
                  <a:moveTo>
                    <a:pt x="0" y="0"/>
                  </a:moveTo>
                  <a:lnTo>
                    <a:pt x="41" y="20"/>
                  </a:lnTo>
                  <a:lnTo>
                    <a:pt x="73" y="86"/>
                  </a:lnTo>
                  <a:lnTo>
                    <a:pt x="38" y="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97" name="Freeform 236">
              <a:extLst>
                <a:ext uri="{FF2B5EF4-FFF2-40B4-BE49-F238E27FC236}">
                  <a16:creationId xmlns:a16="http://schemas.microsoft.com/office/drawing/2014/main" id="{2EE66976-DA46-425A-97CD-0DB079FAF508}"/>
                </a:ext>
              </a:extLst>
            </p:cNvPr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5975172" y="5499172"/>
              <a:ext cx="17059" cy="2193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1" y="20"/>
                </a:cxn>
                <a:cxn ang="0">
                  <a:pos x="73" y="86"/>
                </a:cxn>
                <a:cxn ang="0">
                  <a:pos x="38" y="89"/>
                </a:cxn>
                <a:cxn ang="0">
                  <a:pos x="0" y="0"/>
                </a:cxn>
              </a:cxnLst>
              <a:rect l="0" t="0" r="r" b="b"/>
              <a:pathLst>
                <a:path w="73" h="89">
                  <a:moveTo>
                    <a:pt x="0" y="0"/>
                  </a:moveTo>
                  <a:lnTo>
                    <a:pt x="41" y="20"/>
                  </a:lnTo>
                  <a:lnTo>
                    <a:pt x="73" y="86"/>
                  </a:lnTo>
                  <a:lnTo>
                    <a:pt x="38" y="89"/>
                  </a:lnTo>
                  <a:lnTo>
                    <a:pt x="0" y="0"/>
                  </a:lnTo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98" name="Freeform 237">
              <a:extLst>
                <a:ext uri="{FF2B5EF4-FFF2-40B4-BE49-F238E27FC236}">
                  <a16:creationId xmlns:a16="http://schemas.microsoft.com/office/drawing/2014/main" id="{7713F2D4-DC61-4610-A3C4-F1D31EB84C52}"/>
                </a:ext>
              </a:extLst>
            </p:cNvPr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5601090" y="5684385"/>
              <a:ext cx="17059" cy="13404"/>
            </a:xfrm>
            <a:custGeom>
              <a:avLst/>
              <a:gdLst/>
              <a:ahLst/>
              <a:cxnLst>
                <a:cxn ang="0">
                  <a:pos x="14" y="16"/>
                </a:cxn>
                <a:cxn ang="0">
                  <a:pos x="0" y="0"/>
                </a:cxn>
                <a:cxn ang="0">
                  <a:pos x="17" y="38"/>
                </a:cxn>
                <a:cxn ang="0">
                  <a:pos x="66" y="55"/>
                </a:cxn>
                <a:cxn ang="0">
                  <a:pos x="14" y="16"/>
                </a:cxn>
              </a:cxnLst>
              <a:rect l="0" t="0" r="r" b="b"/>
              <a:pathLst>
                <a:path w="66" h="55">
                  <a:moveTo>
                    <a:pt x="14" y="16"/>
                  </a:moveTo>
                  <a:lnTo>
                    <a:pt x="0" y="0"/>
                  </a:lnTo>
                  <a:lnTo>
                    <a:pt x="17" y="38"/>
                  </a:lnTo>
                  <a:lnTo>
                    <a:pt x="66" y="55"/>
                  </a:lnTo>
                  <a:lnTo>
                    <a:pt x="14" y="16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99" name="Freeform 238">
              <a:extLst>
                <a:ext uri="{FF2B5EF4-FFF2-40B4-BE49-F238E27FC236}">
                  <a16:creationId xmlns:a16="http://schemas.microsoft.com/office/drawing/2014/main" id="{DED7639E-FF5B-4A91-8300-54442A2B2A01}"/>
                </a:ext>
              </a:extLst>
            </p:cNvPr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5601090" y="5684385"/>
              <a:ext cx="17059" cy="13404"/>
            </a:xfrm>
            <a:custGeom>
              <a:avLst/>
              <a:gdLst/>
              <a:ahLst/>
              <a:cxnLst>
                <a:cxn ang="0">
                  <a:pos x="14" y="16"/>
                </a:cxn>
                <a:cxn ang="0">
                  <a:pos x="0" y="0"/>
                </a:cxn>
                <a:cxn ang="0">
                  <a:pos x="17" y="38"/>
                </a:cxn>
                <a:cxn ang="0">
                  <a:pos x="66" y="55"/>
                </a:cxn>
                <a:cxn ang="0">
                  <a:pos x="14" y="16"/>
                </a:cxn>
              </a:cxnLst>
              <a:rect l="0" t="0" r="r" b="b"/>
              <a:pathLst>
                <a:path w="66" h="55">
                  <a:moveTo>
                    <a:pt x="14" y="16"/>
                  </a:moveTo>
                  <a:lnTo>
                    <a:pt x="0" y="0"/>
                  </a:lnTo>
                  <a:lnTo>
                    <a:pt x="17" y="38"/>
                  </a:lnTo>
                  <a:lnTo>
                    <a:pt x="66" y="55"/>
                  </a:lnTo>
                  <a:lnTo>
                    <a:pt x="14" y="16"/>
                  </a:lnTo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0" name="Freeform 239">
              <a:extLst>
                <a:ext uri="{FF2B5EF4-FFF2-40B4-BE49-F238E27FC236}">
                  <a16:creationId xmlns:a16="http://schemas.microsoft.com/office/drawing/2014/main" id="{7A168516-2208-4440-B958-4CD2958E6F67}"/>
                </a:ext>
              </a:extLst>
            </p:cNvPr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5638863" y="5685605"/>
              <a:ext cx="8530" cy="974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1" y="44"/>
                </a:cxn>
                <a:cxn ang="0">
                  <a:pos x="31" y="10"/>
                </a:cxn>
                <a:cxn ang="0">
                  <a:pos x="0" y="0"/>
                </a:cxn>
              </a:cxnLst>
              <a:rect l="0" t="0" r="r" b="b"/>
              <a:pathLst>
                <a:path w="31" h="44">
                  <a:moveTo>
                    <a:pt x="0" y="0"/>
                  </a:moveTo>
                  <a:lnTo>
                    <a:pt x="31" y="44"/>
                  </a:lnTo>
                  <a:lnTo>
                    <a:pt x="31" y="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1" name="Freeform 240">
              <a:extLst>
                <a:ext uri="{FF2B5EF4-FFF2-40B4-BE49-F238E27FC236}">
                  <a16:creationId xmlns:a16="http://schemas.microsoft.com/office/drawing/2014/main" id="{44A1AA45-D1D4-4064-A23A-B4C65FB1E57C}"/>
                </a:ext>
              </a:extLst>
            </p:cNvPr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5638863" y="5685605"/>
              <a:ext cx="8530" cy="974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1" y="44"/>
                </a:cxn>
                <a:cxn ang="0">
                  <a:pos x="31" y="10"/>
                </a:cxn>
                <a:cxn ang="0">
                  <a:pos x="0" y="0"/>
                </a:cxn>
              </a:cxnLst>
              <a:rect l="0" t="0" r="r" b="b"/>
              <a:pathLst>
                <a:path w="31" h="44">
                  <a:moveTo>
                    <a:pt x="0" y="0"/>
                  </a:moveTo>
                  <a:lnTo>
                    <a:pt x="31" y="44"/>
                  </a:lnTo>
                  <a:lnTo>
                    <a:pt x="31" y="10"/>
                  </a:lnTo>
                  <a:lnTo>
                    <a:pt x="0" y="0"/>
                  </a:lnTo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2" name="Freeform 241">
              <a:extLst>
                <a:ext uri="{FF2B5EF4-FFF2-40B4-BE49-F238E27FC236}">
                  <a16:creationId xmlns:a16="http://schemas.microsoft.com/office/drawing/2014/main" id="{2B27C33C-E976-4C43-BA55-6FE704059925}"/>
                </a:ext>
              </a:extLst>
            </p:cNvPr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5397598" y="5217697"/>
              <a:ext cx="36556" cy="12186"/>
            </a:xfrm>
            <a:custGeom>
              <a:avLst/>
              <a:gdLst/>
              <a:ahLst/>
              <a:cxnLst>
                <a:cxn ang="0">
                  <a:pos x="25" y="14"/>
                </a:cxn>
                <a:cxn ang="0">
                  <a:pos x="46" y="0"/>
                </a:cxn>
                <a:cxn ang="0">
                  <a:pos x="145" y="48"/>
                </a:cxn>
                <a:cxn ang="0">
                  <a:pos x="55" y="17"/>
                </a:cxn>
                <a:cxn ang="0">
                  <a:pos x="0" y="52"/>
                </a:cxn>
                <a:cxn ang="0">
                  <a:pos x="25" y="14"/>
                </a:cxn>
              </a:cxnLst>
              <a:rect l="0" t="0" r="r" b="b"/>
              <a:pathLst>
                <a:path w="145" h="52">
                  <a:moveTo>
                    <a:pt x="25" y="14"/>
                  </a:moveTo>
                  <a:lnTo>
                    <a:pt x="46" y="0"/>
                  </a:lnTo>
                  <a:lnTo>
                    <a:pt x="145" y="48"/>
                  </a:lnTo>
                  <a:lnTo>
                    <a:pt x="55" y="17"/>
                  </a:lnTo>
                  <a:lnTo>
                    <a:pt x="0" y="52"/>
                  </a:lnTo>
                  <a:lnTo>
                    <a:pt x="25" y="14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3" name="Freeform 243">
              <a:extLst>
                <a:ext uri="{FF2B5EF4-FFF2-40B4-BE49-F238E27FC236}">
                  <a16:creationId xmlns:a16="http://schemas.microsoft.com/office/drawing/2014/main" id="{E5972BB2-13AC-4723-94DC-2B64BA748DEA}"/>
                </a:ext>
              </a:extLst>
            </p:cNvPr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5925214" y="5388288"/>
              <a:ext cx="8529" cy="7311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0" y="20"/>
                </a:cxn>
                <a:cxn ang="0">
                  <a:pos x="17" y="30"/>
                </a:cxn>
                <a:cxn ang="0">
                  <a:pos x="31" y="9"/>
                </a:cxn>
                <a:cxn ang="0">
                  <a:pos x="6" y="0"/>
                </a:cxn>
              </a:cxnLst>
              <a:rect l="0" t="0" r="r" b="b"/>
              <a:pathLst>
                <a:path w="31" h="30">
                  <a:moveTo>
                    <a:pt x="6" y="0"/>
                  </a:moveTo>
                  <a:lnTo>
                    <a:pt x="0" y="20"/>
                  </a:lnTo>
                  <a:lnTo>
                    <a:pt x="17" y="30"/>
                  </a:lnTo>
                  <a:lnTo>
                    <a:pt x="31" y="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4" name="Freeform 244">
              <a:extLst>
                <a:ext uri="{FF2B5EF4-FFF2-40B4-BE49-F238E27FC236}">
                  <a16:creationId xmlns:a16="http://schemas.microsoft.com/office/drawing/2014/main" id="{2672CCDE-8418-4741-A269-77B38F78266E}"/>
                </a:ext>
              </a:extLst>
            </p:cNvPr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5925214" y="5388288"/>
              <a:ext cx="8529" cy="7311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0" y="20"/>
                </a:cxn>
                <a:cxn ang="0">
                  <a:pos x="17" y="30"/>
                </a:cxn>
                <a:cxn ang="0">
                  <a:pos x="31" y="9"/>
                </a:cxn>
                <a:cxn ang="0">
                  <a:pos x="6" y="0"/>
                </a:cxn>
              </a:cxnLst>
              <a:rect l="0" t="0" r="r" b="b"/>
              <a:pathLst>
                <a:path w="31" h="30">
                  <a:moveTo>
                    <a:pt x="6" y="0"/>
                  </a:moveTo>
                  <a:lnTo>
                    <a:pt x="0" y="20"/>
                  </a:lnTo>
                  <a:lnTo>
                    <a:pt x="17" y="30"/>
                  </a:lnTo>
                  <a:lnTo>
                    <a:pt x="31" y="9"/>
                  </a:lnTo>
                  <a:lnTo>
                    <a:pt x="6" y="0"/>
                  </a:lnTo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5" name="Freeform 245">
              <a:extLst>
                <a:ext uri="{FF2B5EF4-FFF2-40B4-BE49-F238E27FC236}">
                  <a16:creationId xmlns:a16="http://schemas.microsoft.com/office/drawing/2014/main" id="{93C207F2-0DAE-45D6-860A-C702173E75F9}"/>
                </a:ext>
              </a:extLst>
            </p:cNvPr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5960550" y="5463836"/>
              <a:ext cx="8530" cy="19496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0" y="0"/>
                </a:cxn>
                <a:cxn ang="0">
                  <a:pos x="7" y="58"/>
                </a:cxn>
                <a:cxn ang="0">
                  <a:pos x="21" y="82"/>
                </a:cxn>
                <a:cxn ang="0">
                  <a:pos x="35" y="78"/>
                </a:cxn>
                <a:cxn ang="0">
                  <a:pos x="30" y="9"/>
                </a:cxn>
                <a:cxn ang="0">
                  <a:pos x="10" y="0"/>
                </a:cxn>
              </a:cxnLst>
              <a:rect l="0" t="0" r="r" b="b"/>
              <a:pathLst>
                <a:path w="35" h="82">
                  <a:moveTo>
                    <a:pt x="10" y="0"/>
                  </a:moveTo>
                  <a:lnTo>
                    <a:pt x="0" y="0"/>
                  </a:lnTo>
                  <a:lnTo>
                    <a:pt x="7" y="58"/>
                  </a:lnTo>
                  <a:lnTo>
                    <a:pt x="21" y="82"/>
                  </a:lnTo>
                  <a:lnTo>
                    <a:pt x="35" y="78"/>
                  </a:lnTo>
                  <a:lnTo>
                    <a:pt x="30" y="9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6" name="Freeform 246">
              <a:extLst>
                <a:ext uri="{FF2B5EF4-FFF2-40B4-BE49-F238E27FC236}">
                  <a16:creationId xmlns:a16="http://schemas.microsoft.com/office/drawing/2014/main" id="{A3C62CF4-E745-4EC7-9991-E16B8E4624C5}"/>
                </a:ext>
              </a:extLst>
            </p:cNvPr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5960550" y="5463836"/>
              <a:ext cx="8530" cy="19496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0" y="0"/>
                </a:cxn>
                <a:cxn ang="0">
                  <a:pos x="7" y="58"/>
                </a:cxn>
                <a:cxn ang="0">
                  <a:pos x="21" y="82"/>
                </a:cxn>
                <a:cxn ang="0">
                  <a:pos x="35" y="78"/>
                </a:cxn>
                <a:cxn ang="0">
                  <a:pos x="30" y="9"/>
                </a:cxn>
                <a:cxn ang="0">
                  <a:pos x="10" y="0"/>
                </a:cxn>
              </a:cxnLst>
              <a:rect l="0" t="0" r="r" b="b"/>
              <a:pathLst>
                <a:path w="35" h="82">
                  <a:moveTo>
                    <a:pt x="10" y="0"/>
                  </a:moveTo>
                  <a:lnTo>
                    <a:pt x="0" y="0"/>
                  </a:lnTo>
                  <a:lnTo>
                    <a:pt x="7" y="58"/>
                  </a:lnTo>
                  <a:lnTo>
                    <a:pt x="21" y="82"/>
                  </a:lnTo>
                  <a:lnTo>
                    <a:pt x="35" y="78"/>
                  </a:lnTo>
                  <a:lnTo>
                    <a:pt x="30" y="9"/>
                  </a:lnTo>
                  <a:lnTo>
                    <a:pt x="10" y="0"/>
                  </a:lnTo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7" name="Freeform 247">
              <a:extLst>
                <a:ext uri="{FF2B5EF4-FFF2-40B4-BE49-F238E27FC236}">
                  <a16:creationId xmlns:a16="http://schemas.microsoft.com/office/drawing/2014/main" id="{0BA2363B-C4F7-4957-BCF4-3D5A90A95DAD}"/>
                </a:ext>
              </a:extLst>
            </p:cNvPr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5874037" y="5382195"/>
              <a:ext cx="4874" cy="7311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0" y="4"/>
                </a:cxn>
                <a:cxn ang="0">
                  <a:pos x="24" y="31"/>
                </a:cxn>
                <a:cxn ang="0">
                  <a:pos x="20" y="0"/>
                </a:cxn>
              </a:cxnLst>
              <a:rect l="0" t="0" r="r" b="b"/>
              <a:pathLst>
                <a:path w="24" h="31">
                  <a:moveTo>
                    <a:pt x="20" y="0"/>
                  </a:moveTo>
                  <a:lnTo>
                    <a:pt x="0" y="4"/>
                  </a:lnTo>
                  <a:lnTo>
                    <a:pt x="24" y="31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8" name="Freeform 248">
              <a:extLst>
                <a:ext uri="{FF2B5EF4-FFF2-40B4-BE49-F238E27FC236}">
                  <a16:creationId xmlns:a16="http://schemas.microsoft.com/office/drawing/2014/main" id="{0FFEA42A-F66E-4856-87D5-55820F02428C}"/>
                </a:ext>
              </a:extLst>
            </p:cNvPr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5874037" y="5382195"/>
              <a:ext cx="4874" cy="7311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0" y="4"/>
                </a:cxn>
                <a:cxn ang="0">
                  <a:pos x="24" y="31"/>
                </a:cxn>
                <a:cxn ang="0">
                  <a:pos x="20" y="0"/>
                </a:cxn>
              </a:cxnLst>
              <a:rect l="0" t="0" r="r" b="b"/>
              <a:pathLst>
                <a:path w="24" h="31">
                  <a:moveTo>
                    <a:pt x="20" y="0"/>
                  </a:moveTo>
                  <a:lnTo>
                    <a:pt x="0" y="4"/>
                  </a:lnTo>
                  <a:lnTo>
                    <a:pt x="24" y="31"/>
                  </a:lnTo>
                  <a:lnTo>
                    <a:pt x="20" y="0"/>
                  </a:lnTo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9" name="Freeform 249">
              <a:extLst>
                <a:ext uri="{FF2B5EF4-FFF2-40B4-BE49-F238E27FC236}">
                  <a16:creationId xmlns:a16="http://schemas.microsoft.com/office/drawing/2014/main" id="{090CE268-68EE-418B-99D0-1B4A481C8D43}"/>
                </a:ext>
              </a:extLst>
            </p:cNvPr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5991013" y="5543038"/>
              <a:ext cx="7311" cy="17059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0" y="69"/>
                </a:cxn>
                <a:cxn ang="0">
                  <a:pos x="14" y="69"/>
                </a:cxn>
                <a:cxn ang="0">
                  <a:pos x="25" y="41"/>
                </a:cxn>
                <a:cxn ang="0">
                  <a:pos x="8" y="0"/>
                </a:cxn>
              </a:cxnLst>
              <a:rect l="0" t="0" r="r" b="b"/>
              <a:pathLst>
                <a:path w="25" h="69">
                  <a:moveTo>
                    <a:pt x="8" y="0"/>
                  </a:moveTo>
                  <a:lnTo>
                    <a:pt x="0" y="69"/>
                  </a:lnTo>
                  <a:lnTo>
                    <a:pt x="14" y="69"/>
                  </a:lnTo>
                  <a:lnTo>
                    <a:pt x="25" y="41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10" name="Freeform 250">
              <a:extLst>
                <a:ext uri="{FF2B5EF4-FFF2-40B4-BE49-F238E27FC236}">
                  <a16:creationId xmlns:a16="http://schemas.microsoft.com/office/drawing/2014/main" id="{7444305A-DE40-4BB2-B665-E6AECB030430}"/>
                </a:ext>
              </a:extLst>
            </p:cNvPr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5991013" y="5543038"/>
              <a:ext cx="7311" cy="17059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0" y="69"/>
                </a:cxn>
                <a:cxn ang="0">
                  <a:pos x="14" y="69"/>
                </a:cxn>
                <a:cxn ang="0">
                  <a:pos x="25" y="41"/>
                </a:cxn>
                <a:cxn ang="0">
                  <a:pos x="8" y="0"/>
                </a:cxn>
              </a:cxnLst>
              <a:rect l="0" t="0" r="r" b="b"/>
              <a:pathLst>
                <a:path w="25" h="69">
                  <a:moveTo>
                    <a:pt x="8" y="0"/>
                  </a:moveTo>
                  <a:lnTo>
                    <a:pt x="0" y="69"/>
                  </a:lnTo>
                  <a:lnTo>
                    <a:pt x="14" y="69"/>
                  </a:lnTo>
                  <a:lnTo>
                    <a:pt x="25" y="41"/>
                  </a:lnTo>
                  <a:lnTo>
                    <a:pt x="8" y="0"/>
                  </a:lnTo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11" name="Freeform 251">
              <a:extLst>
                <a:ext uri="{FF2B5EF4-FFF2-40B4-BE49-F238E27FC236}">
                  <a16:creationId xmlns:a16="http://schemas.microsoft.com/office/drawing/2014/main" id="{46E9D1FE-A9A0-4136-9107-610B2DD8E809}"/>
                </a:ext>
              </a:extLst>
            </p:cNvPr>
            <p:cNvSpPr>
              <a:spLocks/>
            </p:cNvSpPr>
            <p:nvPr>
              <p:custDataLst>
                <p:tags r:id="rId150"/>
              </p:custDataLst>
            </p:nvPr>
          </p:nvSpPr>
          <p:spPr bwMode="auto">
            <a:xfrm>
              <a:off x="5969080" y="5714848"/>
              <a:ext cx="42648" cy="47522"/>
            </a:xfrm>
            <a:custGeom>
              <a:avLst/>
              <a:gdLst/>
              <a:ahLst/>
              <a:cxnLst>
                <a:cxn ang="0">
                  <a:pos x="162" y="13"/>
                </a:cxn>
                <a:cxn ang="0">
                  <a:pos x="151" y="73"/>
                </a:cxn>
                <a:cxn ang="0">
                  <a:pos x="165" y="137"/>
                </a:cxn>
                <a:cxn ang="0">
                  <a:pos x="140" y="161"/>
                </a:cxn>
                <a:cxn ang="0">
                  <a:pos x="0" y="192"/>
                </a:cxn>
                <a:cxn ang="0">
                  <a:pos x="58" y="148"/>
                </a:cxn>
                <a:cxn ang="0">
                  <a:pos x="65" y="120"/>
                </a:cxn>
                <a:cxn ang="0">
                  <a:pos x="65" y="62"/>
                </a:cxn>
                <a:cxn ang="0">
                  <a:pos x="35" y="58"/>
                </a:cxn>
                <a:cxn ang="0">
                  <a:pos x="30" y="41"/>
                </a:cxn>
                <a:cxn ang="0">
                  <a:pos x="154" y="0"/>
                </a:cxn>
                <a:cxn ang="0">
                  <a:pos x="162" y="13"/>
                </a:cxn>
              </a:cxnLst>
              <a:rect l="0" t="0" r="r" b="b"/>
              <a:pathLst>
                <a:path w="165" h="192">
                  <a:moveTo>
                    <a:pt x="162" y="13"/>
                  </a:moveTo>
                  <a:lnTo>
                    <a:pt x="151" y="73"/>
                  </a:lnTo>
                  <a:lnTo>
                    <a:pt x="165" y="137"/>
                  </a:lnTo>
                  <a:lnTo>
                    <a:pt x="140" y="161"/>
                  </a:lnTo>
                  <a:lnTo>
                    <a:pt x="0" y="192"/>
                  </a:lnTo>
                  <a:lnTo>
                    <a:pt x="58" y="148"/>
                  </a:lnTo>
                  <a:lnTo>
                    <a:pt x="65" y="120"/>
                  </a:lnTo>
                  <a:lnTo>
                    <a:pt x="65" y="62"/>
                  </a:lnTo>
                  <a:lnTo>
                    <a:pt x="35" y="58"/>
                  </a:lnTo>
                  <a:lnTo>
                    <a:pt x="30" y="41"/>
                  </a:lnTo>
                  <a:lnTo>
                    <a:pt x="154" y="0"/>
                  </a:lnTo>
                  <a:lnTo>
                    <a:pt x="162" y="13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12" name="Freeform 257">
              <a:extLst>
                <a:ext uri="{FF2B5EF4-FFF2-40B4-BE49-F238E27FC236}">
                  <a16:creationId xmlns:a16="http://schemas.microsoft.com/office/drawing/2014/main" id="{9A8299D8-476D-4319-888C-C7E5D48FBED2}"/>
                </a:ext>
              </a:extLst>
            </p:cNvPr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5842355" y="5717285"/>
              <a:ext cx="26807" cy="15840"/>
            </a:xfrm>
            <a:custGeom>
              <a:avLst/>
              <a:gdLst/>
              <a:ahLst/>
              <a:cxnLst>
                <a:cxn ang="0">
                  <a:pos x="89" y="0"/>
                </a:cxn>
                <a:cxn ang="0">
                  <a:pos x="113" y="34"/>
                </a:cxn>
                <a:cxn ang="0">
                  <a:pos x="72" y="66"/>
                </a:cxn>
                <a:cxn ang="0">
                  <a:pos x="10" y="58"/>
                </a:cxn>
                <a:cxn ang="0">
                  <a:pos x="0" y="41"/>
                </a:cxn>
                <a:cxn ang="0">
                  <a:pos x="34" y="23"/>
                </a:cxn>
                <a:cxn ang="0">
                  <a:pos x="51" y="34"/>
                </a:cxn>
                <a:cxn ang="0">
                  <a:pos x="89" y="0"/>
                </a:cxn>
              </a:cxnLst>
              <a:rect l="0" t="0" r="r" b="b"/>
              <a:pathLst>
                <a:path w="113" h="66">
                  <a:moveTo>
                    <a:pt x="89" y="0"/>
                  </a:moveTo>
                  <a:lnTo>
                    <a:pt x="113" y="34"/>
                  </a:lnTo>
                  <a:lnTo>
                    <a:pt x="72" y="66"/>
                  </a:lnTo>
                  <a:lnTo>
                    <a:pt x="10" y="58"/>
                  </a:lnTo>
                  <a:lnTo>
                    <a:pt x="0" y="41"/>
                  </a:lnTo>
                  <a:lnTo>
                    <a:pt x="34" y="23"/>
                  </a:lnTo>
                  <a:lnTo>
                    <a:pt x="51" y="34"/>
                  </a:lnTo>
                  <a:lnTo>
                    <a:pt x="89" y="0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213" name="Rectangle 212">
            <a:extLst>
              <a:ext uri="{FF2B5EF4-FFF2-40B4-BE49-F238E27FC236}">
                <a16:creationId xmlns:a16="http://schemas.microsoft.com/office/drawing/2014/main" id="{C94DF3A7-97D6-4A61-8134-594463F3F902}"/>
              </a:ext>
            </a:extLst>
          </p:cNvPr>
          <p:cNvSpPr/>
          <p:nvPr/>
        </p:nvSpPr>
        <p:spPr>
          <a:xfrm>
            <a:off x="1243615" y="4560426"/>
            <a:ext cx="1590195" cy="43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2800" b="1" dirty="0">
                <a:solidFill>
                  <a:sysClr val="windowText" lastClr="000000"/>
                </a:solidFill>
              </a:rPr>
              <a:t>27K</a:t>
            </a:r>
          </a:p>
        </p:txBody>
      </p:sp>
      <p:sp>
        <p:nvSpPr>
          <p:cNvPr id="214" name="Rectangle 213">
            <a:extLst>
              <a:ext uri="{FF2B5EF4-FFF2-40B4-BE49-F238E27FC236}">
                <a16:creationId xmlns:a16="http://schemas.microsoft.com/office/drawing/2014/main" id="{54F7AC52-D677-46D0-9174-0DC18A00CC7E}"/>
              </a:ext>
            </a:extLst>
          </p:cNvPr>
          <p:cNvSpPr/>
          <p:nvPr/>
        </p:nvSpPr>
        <p:spPr>
          <a:xfrm>
            <a:off x="4836219" y="4572931"/>
            <a:ext cx="1898022" cy="43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2800" b="1" dirty="0">
                <a:solidFill>
                  <a:sysClr val="windowText" lastClr="000000"/>
                </a:solidFill>
              </a:rPr>
              <a:t>113K</a:t>
            </a:r>
          </a:p>
        </p:txBody>
      </p:sp>
      <p:sp>
        <p:nvSpPr>
          <p:cNvPr id="215" name="Rectangle 214">
            <a:extLst>
              <a:ext uri="{FF2B5EF4-FFF2-40B4-BE49-F238E27FC236}">
                <a16:creationId xmlns:a16="http://schemas.microsoft.com/office/drawing/2014/main" id="{2C8441C1-F517-4501-8ED2-10E4DD604309}"/>
              </a:ext>
            </a:extLst>
          </p:cNvPr>
          <p:cNvSpPr/>
          <p:nvPr/>
        </p:nvSpPr>
        <p:spPr>
          <a:xfrm>
            <a:off x="8836776" y="4591981"/>
            <a:ext cx="2344615" cy="43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2800" b="1" dirty="0">
                <a:solidFill>
                  <a:sysClr val="windowText" lastClr="000000"/>
                </a:solidFill>
              </a:rPr>
              <a:t>7.88M</a:t>
            </a:r>
            <a:endParaRPr lang="en-CA" b="1" dirty="0">
              <a:solidFill>
                <a:sysClr val="windowText" lastClr="000000"/>
              </a:solidFill>
            </a:endParaRPr>
          </a:p>
        </p:txBody>
      </p:sp>
      <p:cxnSp>
        <p:nvCxnSpPr>
          <p:cNvPr id="217" name="Straight Arrow Connector 216">
            <a:extLst>
              <a:ext uri="{FF2B5EF4-FFF2-40B4-BE49-F238E27FC236}">
                <a16:creationId xmlns:a16="http://schemas.microsoft.com/office/drawing/2014/main" id="{533B4708-8748-49AB-B0D5-CBB3BA697ED7}"/>
              </a:ext>
            </a:extLst>
          </p:cNvPr>
          <p:cNvCxnSpPr/>
          <p:nvPr/>
        </p:nvCxnSpPr>
        <p:spPr>
          <a:xfrm>
            <a:off x="2950574" y="2945239"/>
            <a:ext cx="1438546" cy="0"/>
          </a:xfrm>
          <a:prstGeom prst="straightConnector1">
            <a:avLst/>
          </a:prstGeom>
          <a:ln w="38100"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8" name="Straight Arrow Connector 217">
            <a:extLst>
              <a:ext uri="{FF2B5EF4-FFF2-40B4-BE49-F238E27FC236}">
                <a16:creationId xmlns:a16="http://schemas.microsoft.com/office/drawing/2014/main" id="{7772B811-0F01-415C-B2A9-3BA0ACEF1370}"/>
              </a:ext>
            </a:extLst>
          </p:cNvPr>
          <p:cNvCxnSpPr/>
          <p:nvPr/>
        </p:nvCxnSpPr>
        <p:spPr>
          <a:xfrm>
            <a:off x="7398230" y="2945239"/>
            <a:ext cx="1438546" cy="0"/>
          </a:xfrm>
          <a:prstGeom prst="straightConnector1">
            <a:avLst/>
          </a:prstGeom>
          <a:ln w="38100"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9" name="TextBox 218">
            <a:extLst>
              <a:ext uri="{FF2B5EF4-FFF2-40B4-BE49-F238E27FC236}">
                <a16:creationId xmlns:a16="http://schemas.microsoft.com/office/drawing/2014/main" id="{126729AE-955A-4EEB-8741-4FC881AB3B4D}"/>
              </a:ext>
            </a:extLst>
          </p:cNvPr>
          <p:cNvSpPr txBox="1"/>
          <p:nvPr/>
        </p:nvSpPr>
        <p:spPr>
          <a:xfrm>
            <a:off x="3123028" y="2464585"/>
            <a:ext cx="10524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dirty="0"/>
              <a:t>5 years</a:t>
            </a:r>
          </a:p>
        </p:txBody>
      </p:sp>
      <p:sp>
        <p:nvSpPr>
          <p:cNvPr id="220" name="TextBox 219">
            <a:extLst>
              <a:ext uri="{FF2B5EF4-FFF2-40B4-BE49-F238E27FC236}">
                <a16:creationId xmlns:a16="http://schemas.microsoft.com/office/drawing/2014/main" id="{5ECA231A-F2E2-4874-83CB-D65B1CFC2DA9}"/>
              </a:ext>
            </a:extLst>
          </p:cNvPr>
          <p:cNvSpPr txBox="1"/>
          <p:nvPr/>
        </p:nvSpPr>
        <p:spPr>
          <a:xfrm>
            <a:off x="7595891" y="2464585"/>
            <a:ext cx="10524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dirty="0"/>
              <a:t>5 years</a:t>
            </a:r>
          </a:p>
        </p:txBody>
      </p:sp>
      <p:sp>
        <p:nvSpPr>
          <p:cNvPr id="223" name="TextBox 222">
            <a:extLst>
              <a:ext uri="{FF2B5EF4-FFF2-40B4-BE49-F238E27FC236}">
                <a16:creationId xmlns:a16="http://schemas.microsoft.com/office/drawing/2014/main" id="{FF6DF7E2-7757-40C8-B884-BD237B248F44}"/>
              </a:ext>
            </a:extLst>
          </p:cNvPr>
          <p:cNvSpPr txBox="1"/>
          <p:nvPr/>
        </p:nvSpPr>
        <p:spPr>
          <a:xfrm>
            <a:off x="963565" y="5069081"/>
            <a:ext cx="253929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dirty="0"/>
              <a:t>Pilot program in </a:t>
            </a:r>
            <a:r>
              <a:rPr lang="en-CA" b="1" dirty="0"/>
              <a:t>Nunavut</a:t>
            </a:r>
            <a:r>
              <a:rPr lang="en-CA" dirty="0"/>
              <a:t> to test solution in critical environment</a:t>
            </a:r>
          </a:p>
        </p:txBody>
      </p:sp>
      <p:sp>
        <p:nvSpPr>
          <p:cNvPr id="224" name="TextBox 223">
            <a:extLst>
              <a:ext uri="{FF2B5EF4-FFF2-40B4-BE49-F238E27FC236}">
                <a16:creationId xmlns:a16="http://schemas.microsoft.com/office/drawing/2014/main" id="{DEE1A8D8-F90D-4E6F-8F47-134F40F152CC}"/>
              </a:ext>
            </a:extLst>
          </p:cNvPr>
          <p:cNvSpPr txBox="1"/>
          <p:nvPr/>
        </p:nvSpPr>
        <p:spPr>
          <a:xfrm>
            <a:off x="4687035" y="5069081"/>
            <a:ext cx="253929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dirty="0"/>
              <a:t>Short-term expansion across </a:t>
            </a:r>
            <a:r>
              <a:rPr lang="en-CA" b="1" dirty="0"/>
              <a:t>Canada</a:t>
            </a:r>
            <a:r>
              <a:rPr lang="en-CA" dirty="0"/>
              <a:t> with existing capabilities</a:t>
            </a:r>
          </a:p>
        </p:txBody>
      </p:sp>
      <p:sp>
        <p:nvSpPr>
          <p:cNvPr id="225" name="TextBox 224">
            <a:extLst>
              <a:ext uri="{FF2B5EF4-FFF2-40B4-BE49-F238E27FC236}">
                <a16:creationId xmlns:a16="http://schemas.microsoft.com/office/drawing/2014/main" id="{3EED6895-33A3-45BC-984D-1C884A3B378C}"/>
              </a:ext>
            </a:extLst>
          </p:cNvPr>
          <p:cNvSpPr txBox="1"/>
          <p:nvPr/>
        </p:nvSpPr>
        <p:spPr>
          <a:xfrm>
            <a:off x="8811963" y="5069081"/>
            <a:ext cx="253929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dirty="0"/>
              <a:t>Growing capabilities for a </a:t>
            </a:r>
            <a:r>
              <a:rPr lang="en-CA" b="1" dirty="0"/>
              <a:t>North American</a:t>
            </a:r>
            <a:r>
              <a:rPr lang="en-CA" dirty="0"/>
              <a:t>-wide</a:t>
            </a:r>
            <a:r>
              <a:rPr lang="en-CA" b="1" dirty="0"/>
              <a:t> </a:t>
            </a:r>
            <a:r>
              <a:rPr lang="en-CA" dirty="0"/>
              <a:t>rollout</a:t>
            </a:r>
          </a:p>
        </p:txBody>
      </p:sp>
    </p:spTree>
    <p:extLst>
      <p:ext uri="{BB962C8B-B14F-4D97-AF65-F5344CB8AC3E}">
        <p14:creationId xmlns:p14="http://schemas.microsoft.com/office/powerpoint/2010/main" val="16651059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1600CE5A-15E0-4FD5-9E1B-457E98F3641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pic>
        <p:nvPicPr>
          <p:cNvPr id="3074" name="Picture 2" descr="Image result for sharing food">
            <a:extLst>
              <a:ext uri="{FF2B5EF4-FFF2-40B4-BE49-F238E27FC236}">
                <a16:creationId xmlns:a16="http://schemas.microsoft.com/office/drawing/2014/main" id="{921C1243-BE93-48BA-9EB2-3E75D1F0DE9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27" r="7617" b="-1"/>
          <a:stretch/>
        </p:blipFill>
        <p:spPr bwMode="auto">
          <a:xfrm>
            <a:off x="0" y="0"/>
            <a:ext cx="12191980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66EEC45-EA29-4C54-B503-91D582245B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4580" y="856379"/>
            <a:ext cx="9144000" cy="2900518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/>
            <a:r>
              <a:rPr lang="en-US" sz="6600" dirty="0">
                <a:solidFill>
                  <a:srgbClr val="FFFFFF"/>
                </a:solidFill>
                <a:latin typeface="+mj-lt"/>
                <a:cs typeface="+mj-cs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9414493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8D49542-FC2C-4003-B93B-F7A3D7A158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Appendix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1BF12AF-3D86-44A0-960C-AA5FA3C14484}"/>
              </a:ext>
            </a:extLst>
          </p:cNvPr>
          <p:cNvSpPr txBox="1"/>
          <p:nvPr/>
        </p:nvSpPr>
        <p:spPr>
          <a:xfrm>
            <a:off x="838200" y="1690688"/>
            <a:ext cx="32695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dirty="0"/>
              <a:t>Overview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586FD63-3E10-436E-9C75-F90563C2E29B}"/>
              </a:ext>
            </a:extLst>
          </p:cNvPr>
          <p:cNvCxnSpPr>
            <a:cxnSpLocks/>
          </p:cNvCxnSpPr>
          <p:nvPr/>
        </p:nvCxnSpPr>
        <p:spPr>
          <a:xfrm>
            <a:off x="838200" y="2067949"/>
            <a:ext cx="3269566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C61523E3-37EE-4199-84FE-577C714D6151}"/>
              </a:ext>
            </a:extLst>
          </p:cNvPr>
          <p:cNvSpPr txBox="1"/>
          <p:nvPr/>
        </p:nvSpPr>
        <p:spPr>
          <a:xfrm>
            <a:off x="4632960" y="1690688"/>
            <a:ext cx="67208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dirty="0"/>
              <a:t>Appendix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58ECB2D-7BDC-4023-8E0E-E26532CFEC8D}"/>
              </a:ext>
            </a:extLst>
          </p:cNvPr>
          <p:cNvCxnSpPr>
            <a:cxnSpLocks/>
          </p:cNvCxnSpPr>
          <p:nvPr/>
        </p:nvCxnSpPr>
        <p:spPr>
          <a:xfrm>
            <a:off x="4632960" y="2067949"/>
            <a:ext cx="6720840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1F6809BC-52FA-491F-ADEC-FB3B708832CF}"/>
              </a:ext>
            </a:extLst>
          </p:cNvPr>
          <p:cNvSpPr/>
          <p:nvPr/>
        </p:nvSpPr>
        <p:spPr>
          <a:xfrm>
            <a:off x="838200" y="2293034"/>
            <a:ext cx="3269566" cy="4199834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CA" dirty="0">
                <a:solidFill>
                  <a:schemeClr val="tx1"/>
                </a:solidFill>
              </a:rPr>
              <a:t>Food security in Canada</a:t>
            </a:r>
          </a:p>
          <a:p>
            <a:r>
              <a:rPr lang="en-CA" dirty="0">
                <a:solidFill>
                  <a:schemeClr val="tx1"/>
                </a:solidFill>
              </a:rPr>
              <a:t>Limited Selection of Food</a:t>
            </a:r>
          </a:p>
          <a:p>
            <a:r>
              <a:rPr lang="en-CA" dirty="0">
                <a:solidFill>
                  <a:schemeClr val="tx1"/>
                </a:solidFill>
              </a:rPr>
              <a:t>Virtual Marketplace</a:t>
            </a:r>
          </a:p>
          <a:p>
            <a:r>
              <a:rPr lang="en-CA" dirty="0">
                <a:solidFill>
                  <a:schemeClr val="tx1"/>
                </a:solidFill>
              </a:rPr>
              <a:t>Mobile Demo</a:t>
            </a:r>
          </a:p>
          <a:p>
            <a:r>
              <a:rPr lang="en-CA" dirty="0">
                <a:solidFill>
                  <a:schemeClr val="tx1"/>
                </a:solidFill>
              </a:rPr>
              <a:t>Online Demo</a:t>
            </a:r>
          </a:p>
          <a:p>
            <a:r>
              <a:rPr lang="en-CA" dirty="0">
                <a:solidFill>
                  <a:schemeClr val="tx1"/>
                </a:solidFill>
              </a:rPr>
              <a:t>Scalability and Impact</a:t>
            </a:r>
          </a:p>
          <a:p>
            <a:endParaRPr lang="en-CA" dirty="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11E9538-3C8C-4103-9288-60101685FC05}"/>
              </a:ext>
            </a:extLst>
          </p:cNvPr>
          <p:cNvSpPr/>
          <p:nvPr/>
        </p:nvSpPr>
        <p:spPr>
          <a:xfrm>
            <a:off x="4632960" y="2293034"/>
            <a:ext cx="6720840" cy="4199834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CA" dirty="0">
                <a:solidFill>
                  <a:schemeClr val="tx1"/>
                </a:solidFill>
              </a:rPr>
              <a:t>Financial Impac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A" dirty="0">
                <a:solidFill>
                  <a:schemeClr val="tx1"/>
                </a:solidFill>
              </a:rPr>
              <a:t>Inputs and Assump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A" dirty="0">
                <a:solidFill>
                  <a:schemeClr val="tx1"/>
                </a:solidFill>
              </a:rPr>
              <a:t>5-year projec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A" dirty="0">
                <a:solidFill>
                  <a:schemeClr val="tx1"/>
                </a:solidFill>
              </a:rPr>
              <a:t>Financial Impacts</a:t>
            </a:r>
          </a:p>
          <a:p>
            <a:r>
              <a:rPr lang="en-CA" dirty="0">
                <a:solidFill>
                  <a:schemeClr val="tx1"/>
                </a:solidFill>
              </a:rPr>
              <a:t>Risk and Mitigations</a:t>
            </a:r>
          </a:p>
          <a:p>
            <a:r>
              <a:rPr lang="en-CA" dirty="0">
                <a:solidFill>
                  <a:schemeClr val="tx1"/>
                </a:solidFill>
              </a:rPr>
              <a:t>Alternative Funding Methods</a:t>
            </a:r>
          </a:p>
          <a:p>
            <a:r>
              <a:rPr lang="en-CA" dirty="0">
                <a:solidFill>
                  <a:schemeClr val="tx1"/>
                </a:solidFill>
              </a:rPr>
              <a:t>Implementation Timeline</a:t>
            </a:r>
          </a:p>
          <a:p>
            <a:r>
              <a:rPr lang="en-CA" dirty="0">
                <a:solidFill>
                  <a:schemeClr val="tx1"/>
                </a:solidFill>
              </a:rPr>
              <a:t>Data Applic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A" dirty="0">
                <a:solidFill>
                  <a:schemeClr val="tx1"/>
                </a:solidFill>
              </a:rPr>
              <a:t>Data Monetiz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A" dirty="0">
                <a:solidFill>
                  <a:schemeClr val="tx1"/>
                </a:solidFill>
              </a:rPr>
              <a:t>Internal Optimization</a:t>
            </a:r>
          </a:p>
          <a:p>
            <a:r>
              <a:rPr lang="en-CA" dirty="0">
                <a:solidFill>
                  <a:schemeClr val="tx1"/>
                </a:solidFill>
              </a:rPr>
              <a:t>User Profile</a:t>
            </a:r>
          </a:p>
          <a:p>
            <a:r>
              <a:rPr lang="en-CA" dirty="0">
                <a:solidFill>
                  <a:schemeClr val="tx1"/>
                </a:solidFill>
              </a:rPr>
              <a:t>Food Insecurity Background Inform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A" dirty="0">
                <a:solidFill>
                  <a:schemeClr val="tx1"/>
                </a:solidFill>
              </a:rPr>
              <a:t>Household food insecurity in Canad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A" dirty="0">
                <a:solidFill>
                  <a:schemeClr val="tx1"/>
                </a:solidFill>
              </a:rPr>
              <a:t>Barriers to Acquiring local foo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A" dirty="0">
                <a:solidFill>
                  <a:schemeClr val="tx1"/>
                </a:solidFill>
              </a:rPr>
              <a:t>Nutrition North Canada - Subsidy</a:t>
            </a:r>
          </a:p>
        </p:txBody>
      </p:sp>
    </p:spTree>
    <p:extLst>
      <p:ext uri="{BB962C8B-B14F-4D97-AF65-F5344CB8AC3E}">
        <p14:creationId xmlns:p14="http://schemas.microsoft.com/office/powerpoint/2010/main" val="352018333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6AFB48-34EA-44E2-BEEE-62D5E2421C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Appendix I: Inputs and Assumption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80AE438-669C-481B-B8C9-EDD4BE68C96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7364"/>
          <a:stretch/>
        </p:blipFill>
        <p:spPr>
          <a:xfrm>
            <a:off x="485776" y="1566410"/>
            <a:ext cx="4826454" cy="2173641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F22654B-FFC3-41B9-8BE8-BAEAD3E46D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39014" y="1540570"/>
            <a:ext cx="6326711" cy="4606685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9EDD8DA2-78C8-4AD1-9DB6-C1569A6AD16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5777" y="4004130"/>
            <a:ext cx="4826454" cy="2143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304069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D2DCC1-F12C-4958-977A-B8B181C8C1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Appendix II: 5 year projection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7A68D67-1E46-4183-89E7-4D69C96B74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5977" y="1509844"/>
            <a:ext cx="11605017" cy="4890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57445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17D985-4020-45D4-9A64-6F54332923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CA" dirty="0"/>
              <a:t>Appendix III: Financial Impacts 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EFBA8409-13B9-4137-B643-DC337B80A26F}"/>
              </a:ext>
            </a:extLst>
          </p:cNvPr>
          <p:cNvGraphicFramePr>
            <a:graphicFrameLocks/>
          </p:cNvGraphicFramePr>
          <p:nvPr/>
        </p:nvGraphicFramePr>
        <p:xfrm>
          <a:off x="504092" y="1568118"/>
          <a:ext cx="7359747" cy="48698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5" name="Group 4">
            <a:extLst>
              <a:ext uri="{FF2B5EF4-FFF2-40B4-BE49-F238E27FC236}">
                <a16:creationId xmlns:a16="http://schemas.microsoft.com/office/drawing/2014/main" id="{A6925976-79AC-44C3-97EB-568004BAE52E}"/>
              </a:ext>
            </a:extLst>
          </p:cNvPr>
          <p:cNvGrpSpPr/>
          <p:nvPr/>
        </p:nvGrpSpPr>
        <p:grpSpPr>
          <a:xfrm>
            <a:off x="8286587" y="2486790"/>
            <a:ext cx="3598268" cy="991206"/>
            <a:chOff x="2327386" y="2280151"/>
            <a:chExt cx="3598268" cy="1261884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068D514F-6C5E-4F41-8FA6-E9BC6D1EFE37}"/>
                </a:ext>
              </a:extLst>
            </p:cNvPr>
            <p:cNvSpPr txBox="1"/>
            <p:nvPr/>
          </p:nvSpPr>
          <p:spPr>
            <a:xfrm>
              <a:off x="2826666" y="2280151"/>
              <a:ext cx="2599708" cy="11754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CA" sz="5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$239.98</a:t>
              </a:r>
              <a:endParaRPr lang="en-CA" sz="105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A7BDD80D-3ECE-4CEF-B32C-5B07242C32AE}"/>
                </a:ext>
              </a:extLst>
            </p:cNvPr>
            <p:cNvSpPr/>
            <p:nvPr/>
          </p:nvSpPr>
          <p:spPr>
            <a:xfrm>
              <a:off x="2327386" y="3203481"/>
              <a:ext cx="3598268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CA" sz="1600" dirty="0">
                  <a:latin typeface="Arial" panose="020B0604020202020204" pitchFamily="34" charset="0"/>
                  <a:cs typeface="Arial" panose="020B0604020202020204" pitchFamily="34" charset="0"/>
                </a:rPr>
                <a:t>5-year NPV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7CEF0F3-DD4F-43AE-8941-AC66388E9837}"/>
              </a:ext>
            </a:extLst>
          </p:cNvPr>
          <p:cNvGrpSpPr/>
          <p:nvPr/>
        </p:nvGrpSpPr>
        <p:grpSpPr>
          <a:xfrm>
            <a:off x="8286587" y="4005302"/>
            <a:ext cx="3598268" cy="1063827"/>
            <a:chOff x="2327386" y="2280151"/>
            <a:chExt cx="3598268" cy="1354336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E8FB29FB-8AB3-4564-84DE-91A54F1F7846}"/>
                </a:ext>
              </a:extLst>
            </p:cNvPr>
            <p:cNvSpPr txBox="1"/>
            <p:nvPr/>
          </p:nvSpPr>
          <p:spPr>
            <a:xfrm>
              <a:off x="2826666" y="2280151"/>
              <a:ext cx="2599708" cy="11754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CA" sz="5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10.02%</a:t>
              </a:r>
              <a:endParaRPr lang="en-CA" sz="105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9D1463B-C8A0-4EF1-ADC4-750EA809F88C}"/>
                </a:ext>
              </a:extLst>
            </p:cNvPr>
            <p:cNvSpPr/>
            <p:nvPr/>
          </p:nvSpPr>
          <p:spPr>
            <a:xfrm>
              <a:off x="2327386" y="3203481"/>
              <a:ext cx="3598268" cy="43100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CA" sz="1600" dirty="0">
                  <a:latin typeface="Arial" panose="020B0604020202020204" pitchFamily="34" charset="0"/>
                  <a:cs typeface="Arial" panose="020B0604020202020204" pitchFamily="34" charset="0"/>
                </a:rPr>
                <a:t>IR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6441808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32788F-8159-496A-93D0-BFB8E5DF01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>
                <a:latin typeface="+mj-lt"/>
              </a:rPr>
              <a:t>Appendix IV: Risk and Mitigations</a:t>
            </a:r>
          </a:p>
        </p:txBody>
      </p:sp>
      <p:graphicFrame>
        <p:nvGraphicFramePr>
          <p:cNvPr id="3" name="Shape 855">
            <a:extLst>
              <a:ext uri="{FF2B5EF4-FFF2-40B4-BE49-F238E27FC236}">
                <a16:creationId xmlns:a16="http://schemas.microsoft.com/office/drawing/2014/main" id="{4EAC03D8-9607-43BF-A00F-987EAEB1A4EF}"/>
              </a:ext>
            </a:extLst>
          </p:cNvPr>
          <p:cNvGraphicFramePr/>
          <p:nvPr>
            <p:extLst/>
          </p:nvPr>
        </p:nvGraphicFramePr>
        <p:xfrm>
          <a:off x="8316150" y="2497475"/>
          <a:ext cx="3037650" cy="278745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0125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125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125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929150">
                <a:tc>
                  <a:txBody>
                    <a:bodyPr/>
                    <a:lstStyle/>
                    <a:p>
                      <a:pPr lvl="0">
                        <a:spcBef>
                          <a:spcPts val="0"/>
                        </a:spcBef>
                        <a:buNone/>
                      </a:pPr>
                      <a:endParaRPr/>
                    </a:p>
                  </a:txBody>
                  <a:tcPr marL="91425" marR="91425" marT="91425" marB="91425">
                    <a:solidFill>
                      <a:srgbClr val="FFE599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spcBef>
                          <a:spcPts val="0"/>
                        </a:spcBef>
                        <a:buNone/>
                      </a:pPr>
                      <a:endParaRPr/>
                    </a:p>
                  </a:txBody>
                  <a:tcPr marL="91425" marR="91425" marT="91425" marB="91425">
                    <a:solidFill>
                      <a:srgbClr val="F9CB9C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spcBef>
                          <a:spcPts val="0"/>
                        </a:spcBef>
                        <a:buNone/>
                      </a:pPr>
                      <a:endParaRPr/>
                    </a:p>
                  </a:txBody>
                  <a:tcPr marL="91425" marR="91425" marT="91425" marB="91425">
                    <a:solidFill>
                      <a:srgbClr val="EA99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29150">
                <a:tc>
                  <a:txBody>
                    <a:bodyPr/>
                    <a:lstStyle/>
                    <a:p>
                      <a:pPr lvl="0">
                        <a:spcBef>
                          <a:spcPts val="0"/>
                        </a:spcBef>
                        <a:buNone/>
                      </a:pPr>
                      <a:endParaRPr/>
                    </a:p>
                  </a:txBody>
                  <a:tcPr marL="91425" marR="91425" marT="91425" marB="91425">
                    <a:solidFill>
                      <a:srgbClr val="D0D78D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spcBef>
                          <a:spcPts val="0"/>
                        </a:spcBef>
                        <a:buNone/>
                      </a:pPr>
                      <a:endParaRPr dirty="0"/>
                    </a:p>
                  </a:txBody>
                  <a:tcPr marL="91425" marR="91425" marT="91425" marB="91425">
                    <a:solidFill>
                      <a:srgbClr val="FFE599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spcBef>
                          <a:spcPts val="0"/>
                        </a:spcBef>
                        <a:buNone/>
                      </a:pPr>
                      <a:endParaRPr/>
                    </a:p>
                  </a:txBody>
                  <a:tcPr marL="91425" marR="91425" marT="91425" marB="91425">
                    <a:solidFill>
                      <a:srgbClr val="F9CB9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29150">
                <a:tc>
                  <a:txBody>
                    <a:bodyPr/>
                    <a:lstStyle/>
                    <a:p>
                      <a:pPr lvl="0">
                        <a:spcBef>
                          <a:spcPts val="0"/>
                        </a:spcBef>
                        <a:buNone/>
                      </a:pPr>
                      <a:endParaRPr dirty="0"/>
                    </a:p>
                  </a:txBody>
                  <a:tcPr marL="91425" marR="91425" marT="91425" marB="91425">
                    <a:solidFill>
                      <a:srgbClr val="AED7A7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spcBef>
                          <a:spcPts val="0"/>
                        </a:spcBef>
                        <a:buNone/>
                      </a:pPr>
                      <a:endParaRPr/>
                    </a:p>
                  </a:txBody>
                  <a:tcPr marL="91425" marR="91425" marT="91425" marB="91425">
                    <a:solidFill>
                      <a:srgbClr val="D0D78D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spcBef>
                          <a:spcPts val="0"/>
                        </a:spcBef>
                        <a:buNone/>
                      </a:pPr>
                      <a:endParaRPr dirty="0"/>
                    </a:p>
                  </a:txBody>
                  <a:tcPr marL="91425" marR="91425" marT="91425" marB="91425">
                    <a:solidFill>
                      <a:srgbClr val="FFE5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cxnSp>
        <p:nvCxnSpPr>
          <p:cNvPr id="4" name="Shape 856">
            <a:extLst>
              <a:ext uri="{FF2B5EF4-FFF2-40B4-BE49-F238E27FC236}">
                <a16:creationId xmlns:a16="http://schemas.microsoft.com/office/drawing/2014/main" id="{61016DFE-5738-464E-A4ED-1F5E7328AE02}"/>
              </a:ext>
            </a:extLst>
          </p:cNvPr>
          <p:cNvCxnSpPr/>
          <p:nvPr/>
        </p:nvCxnSpPr>
        <p:spPr>
          <a:xfrm rot="10800000">
            <a:off x="8202150" y="2305000"/>
            <a:ext cx="0" cy="3196200"/>
          </a:xfrm>
          <a:prstGeom prst="straightConnector1">
            <a:avLst/>
          </a:prstGeom>
          <a:noFill/>
          <a:ln w="28575" cap="flat" cmpd="sng">
            <a:solidFill>
              <a:schemeClr val="dk2"/>
            </a:solidFill>
            <a:prstDash val="solid"/>
            <a:round/>
            <a:headEnd type="none" w="lg" len="lg"/>
            <a:tailEnd type="stealth" w="lg" len="lg"/>
          </a:ln>
        </p:spPr>
      </p:cxnSp>
      <p:cxnSp>
        <p:nvCxnSpPr>
          <p:cNvPr id="5" name="Shape 857">
            <a:extLst>
              <a:ext uri="{FF2B5EF4-FFF2-40B4-BE49-F238E27FC236}">
                <a16:creationId xmlns:a16="http://schemas.microsoft.com/office/drawing/2014/main" id="{592182F3-3E35-44CD-9EB9-621A17B79F5F}"/>
              </a:ext>
            </a:extLst>
          </p:cNvPr>
          <p:cNvCxnSpPr/>
          <p:nvPr/>
        </p:nvCxnSpPr>
        <p:spPr>
          <a:xfrm>
            <a:off x="8088875" y="5401000"/>
            <a:ext cx="3480300" cy="0"/>
          </a:xfrm>
          <a:prstGeom prst="straightConnector1">
            <a:avLst/>
          </a:prstGeom>
          <a:noFill/>
          <a:ln w="28575" cap="flat" cmpd="sng">
            <a:solidFill>
              <a:schemeClr val="dk2"/>
            </a:solidFill>
            <a:prstDash val="solid"/>
            <a:round/>
            <a:headEnd type="none" w="lg" len="lg"/>
            <a:tailEnd type="stealth" w="lg" len="lg"/>
          </a:ln>
        </p:spPr>
      </p:cxnSp>
      <p:sp>
        <p:nvSpPr>
          <p:cNvPr id="6" name="Shape 859">
            <a:extLst>
              <a:ext uri="{FF2B5EF4-FFF2-40B4-BE49-F238E27FC236}">
                <a16:creationId xmlns:a16="http://schemas.microsoft.com/office/drawing/2014/main" id="{0D750329-39D8-4435-AB2A-FB92BC54D161}"/>
              </a:ext>
            </a:extLst>
          </p:cNvPr>
          <p:cNvSpPr txBox="1"/>
          <p:nvPr/>
        </p:nvSpPr>
        <p:spPr>
          <a:xfrm rot="-5400000">
            <a:off x="7104824" y="3782712"/>
            <a:ext cx="1305300" cy="332700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r>
              <a:rPr lang="en" sz="1200" b="1" dirty="0">
                <a:latin typeface="+mj-lt"/>
                <a:ea typeface="Open Sans Light"/>
                <a:cs typeface="Open Sans Light"/>
                <a:sym typeface="Open Sans Light"/>
              </a:rPr>
              <a:t>PROBABILITY</a:t>
            </a:r>
          </a:p>
        </p:txBody>
      </p:sp>
      <p:grpSp>
        <p:nvGrpSpPr>
          <p:cNvPr id="7" name="Shape 860">
            <a:extLst>
              <a:ext uri="{FF2B5EF4-FFF2-40B4-BE49-F238E27FC236}">
                <a16:creationId xmlns:a16="http://schemas.microsoft.com/office/drawing/2014/main" id="{128A697B-4435-4F0B-AFD4-90886C9A131C}"/>
              </a:ext>
            </a:extLst>
          </p:cNvPr>
          <p:cNvGrpSpPr/>
          <p:nvPr/>
        </p:nvGrpSpPr>
        <p:grpSpPr>
          <a:xfrm>
            <a:off x="7936150" y="2514825"/>
            <a:ext cx="332700" cy="2642300"/>
            <a:chOff x="4155450" y="1333725"/>
            <a:chExt cx="332700" cy="2642300"/>
          </a:xfrm>
        </p:grpSpPr>
        <p:sp>
          <p:nvSpPr>
            <p:cNvPr id="8" name="Shape 861">
              <a:extLst>
                <a:ext uri="{FF2B5EF4-FFF2-40B4-BE49-F238E27FC236}">
                  <a16:creationId xmlns:a16="http://schemas.microsoft.com/office/drawing/2014/main" id="{86771952-F798-4C69-8257-20EE5A34E71A}"/>
                </a:ext>
              </a:extLst>
            </p:cNvPr>
            <p:cNvSpPr txBox="1"/>
            <p:nvPr/>
          </p:nvSpPr>
          <p:spPr>
            <a:xfrm rot="-5400000">
              <a:off x="4049850" y="3537725"/>
              <a:ext cx="543900" cy="33270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buNone/>
              </a:pPr>
              <a:r>
                <a:rPr lang="en" sz="1200" b="1">
                  <a:latin typeface="+mj-lt"/>
                  <a:ea typeface="Open Sans Light"/>
                  <a:cs typeface="Open Sans Light"/>
                  <a:sym typeface="Open Sans Light"/>
                </a:rPr>
                <a:t>Low</a:t>
              </a:r>
            </a:p>
          </p:txBody>
        </p:sp>
        <p:sp>
          <p:nvSpPr>
            <p:cNvPr id="9" name="Shape 862">
              <a:extLst>
                <a:ext uri="{FF2B5EF4-FFF2-40B4-BE49-F238E27FC236}">
                  <a16:creationId xmlns:a16="http://schemas.microsoft.com/office/drawing/2014/main" id="{FCA52428-100D-4295-8A96-62334BA83152}"/>
                </a:ext>
              </a:extLst>
            </p:cNvPr>
            <p:cNvSpPr txBox="1"/>
            <p:nvPr/>
          </p:nvSpPr>
          <p:spPr>
            <a:xfrm rot="-5400000">
              <a:off x="3864750" y="2543875"/>
              <a:ext cx="914100" cy="33270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buNone/>
              </a:pPr>
              <a:r>
                <a:rPr lang="en" sz="1200" b="1" dirty="0">
                  <a:latin typeface="+mj-lt"/>
                  <a:ea typeface="Open Sans Light"/>
                  <a:cs typeface="Open Sans Light"/>
                  <a:sym typeface="Open Sans Light"/>
                </a:rPr>
                <a:t>Medium</a:t>
              </a:r>
            </a:p>
          </p:txBody>
        </p:sp>
        <p:sp>
          <p:nvSpPr>
            <p:cNvPr id="10" name="Shape 863">
              <a:extLst>
                <a:ext uri="{FF2B5EF4-FFF2-40B4-BE49-F238E27FC236}">
                  <a16:creationId xmlns:a16="http://schemas.microsoft.com/office/drawing/2014/main" id="{BAE8DB77-D44D-4433-8DA9-92F36BF363F4}"/>
                </a:ext>
              </a:extLst>
            </p:cNvPr>
            <p:cNvSpPr txBox="1"/>
            <p:nvPr/>
          </p:nvSpPr>
          <p:spPr>
            <a:xfrm rot="-5400000">
              <a:off x="3994500" y="1494675"/>
              <a:ext cx="654600" cy="33270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buNone/>
              </a:pPr>
              <a:r>
                <a:rPr lang="en" sz="1200" b="1" dirty="0">
                  <a:latin typeface="+mj-lt"/>
                  <a:ea typeface="Open Sans Light"/>
                  <a:cs typeface="Open Sans Light"/>
                  <a:sym typeface="Open Sans Light"/>
                </a:rPr>
                <a:t>High</a:t>
              </a:r>
            </a:p>
          </p:txBody>
        </p:sp>
      </p:grpSp>
      <p:grpSp>
        <p:nvGrpSpPr>
          <p:cNvPr id="11" name="Shape 864">
            <a:extLst>
              <a:ext uri="{FF2B5EF4-FFF2-40B4-BE49-F238E27FC236}">
                <a16:creationId xmlns:a16="http://schemas.microsoft.com/office/drawing/2014/main" id="{40C1F2C3-30AD-42AA-9AF4-5CCA28E7D57A}"/>
              </a:ext>
            </a:extLst>
          </p:cNvPr>
          <p:cNvGrpSpPr/>
          <p:nvPr/>
        </p:nvGrpSpPr>
        <p:grpSpPr>
          <a:xfrm rot="5400000">
            <a:off x="9722825" y="4246200"/>
            <a:ext cx="332700" cy="2642300"/>
            <a:chOff x="4079250" y="1333725"/>
            <a:chExt cx="332700" cy="2642300"/>
          </a:xfrm>
        </p:grpSpPr>
        <p:sp>
          <p:nvSpPr>
            <p:cNvPr id="12" name="Shape 865">
              <a:extLst>
                <a:ext uri="{FF2B5EF4-FFF2-40B4-BE49-F238E27FC236}">
                  <a16:creationId xmlns:a16="http://schemas.microsoft.com/office/drawing/2014/main" id="{63AC05F4-3C3F-460D-8DCA-D578B16D10DD}"/>
                </a:ext>
              </a:extLst>
            </p:cNvPr>
            <p:cNvSpPr txBox="1"/>
            <p:nvPr/>
          </p:nvSpPr>
          <p:spPr>
            <a:xfrm rot="-5400000">
              <a:off x="3973650" y="3537725"/>
              <a:ext cx="543900" cy="33270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buNone/>
              </a:pPr>
              <a:r>
                <a:rPr lang="en" sz="1200" b="1">
                  <a:latin typeface="+mj-lt"/>
                  <a:ea typeface="Open Sans Light"/>
                  <a:cs typeface="Open Sans Light"/>
                  <a:sym typeface="Open Sans Light"/>
                </a:rPr>
                <a:t>Low</a:t>
              </a:r>
            </a:p>
          </p:txBody>
        </p:sp>
        <p:sp>
          <p:nvSpPr>
            <p:cNvPr id="13" name="Shape 866">
              <a:extLst>
                <a:ext uri="{FF2B5EF4-FFF2-40B4-BE49-F238E27FC236}">
                  <a16:creationId xmlns:a16="http://schemas.microsoft.com/office/drawing/2014/main" id="{55E8E7DC-B7B4-4CC5-8506-8BA141123222}"/>
                </a:ext>
              </a:extLst>
            </p:cNvPr>
            <p:cNvSpPr txBox="1"/>
            <p:nvPr/>
          </p:nvSpPr>
          <p:spPr>
            <a:xfrm rot="-5400000">
              <a:off x="3733350" y="2599075"/>
              <a:ext cx="914100" cy="22230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buNone/>
              </a:pPr>
              <a:r>
                <a:rPr lang="en" sz="1200" b="1" dirty="0">
                  <a:latin typeface="+mj-lt"/>
                  <a:ea typeface="Open Sans Light"/>
                  <a:cs typeface="Open Sans Light"/>
                  <a:sym typeface="Open Sans Light"/>
                </a:rPr>
                <a:t>Medium</a:t>
              </a:r>
            </a:p>
          </p:txBody>
        </p:sp>
        <p:sp>
          <p:nvSpPr>
            <p:cNvPr id="14" name="Shape 867">
              <a:extLst>
                <a:ext uri="{FF2B5EF4-FFF2-40B4-BE49-F238E27FC236}">
                  <a16:creationId xmlns:a16="http://schemas.microsoft.com/office/drawing/2014/main" id="{96C16C7A-FA52-4D48-A1D4-ACDD6BE538BB}"/>
                </a:ext>
              </a:extLst>
            </p:cNvPr>
            <p:cNvSpPr txBox="1"/>
            <p:nvPr/>
          </p:nvSpPr>
          <p:spPr>
            <a:xfrm rot="-5400000">
              <a:off x="3918300" y="1494675"/>
              <a:ext cx="654600" cy="33270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buNone/>
              </a:pPr>
              <a:r>
                <a:rPr lang="en" sz="1200" b="1">
                  <a:latin typeface="+mj-lt"/>
                  <a:ea typeface="Open Sans Light"/>
                  <a:cs typeface="Open Sans Light"/>
                  <a:sym typeface="Open Sans Light"/>
                </a:rPr>
                <a:t>High</a:t>
              </a:r>
            </a:p>
          </p:txBody>
        </p:sp>
      </p:grpSp>
      <p:sp>
        <p:nvSpPr>
          <p:cNvPr id="15" name="Shape 859">
            <a:extLst>
              <a:ext uri="{FF2B5EF4-FFF2-40B4-BE49-F238E27FC236}">
                <a16:creationId xmlns:a16="http://schemas.microsoft.com/office/drawing/2014/main" id="{0EC2CF36-B7E7-490A-8D62-07D157F4C31E}"/>
              </a:ext>
            </a:extLst>
          </p:cNvPr>
          <p:cNvSpPr txBox="1"/>
          <p:nvPr/>
        </p:nvSpPr>
        <p:spPr>
          <a:xfrm>
            <a:off x="9250425" y="5752825"/>
            <a:ext cx="1305300" cy="332700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r>
              <a:rPr lang="en-CA" sz="1200" b="1" dirty="0">
                <a:latin typeface="+mj-lt"/>
                <a:ea typeface="Open Sans Light"/>
                <a:cs typeface="Open Sans Light"/>
                <a:sym typeface="Open Sans Light"/>
              </a:rPr>
              <a:t>IMPACT</a:t>
            </a:r>
            <a:endParaRPr lang="en" sz="1200" b="1" dirty="0">
              <a:latin typeface="+mj-lt"/>
              <a:ea typeface="Open Sans Light"/>
              <a:cs typeface="Open Sans Light"/>
              <a:sym typeface="Open Sans Light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034342D-AA47-4C83-BA0F-0837735FE6D2}"/>
              </a:ext>
            </a:extLst>
          </p:cNvPr>
          <p:cNvSpPr/>
          <p:nvPr/>
        </p:nvSpPr>
        <p:spPr>
          <a:xfrm>
            <a:off x="457843" y="2242726"/>
            <a:ext cx="1080000" cy="12240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+mj-lt"/>
              </a:rPr>
              <a:t>Learning Curv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7B6B48-7D3B-4118-8F31-43EE011D7219}"/>
              </a:ext>
            </a:extLst>
          </p:cNvPr>
          <p:cNvSpPr/>
          <p:nvPr/>
        </p:nvSpPr>
        <p:spPr>
          <a:xfrm>
            <a:off x="1647266" y="2234100"/>
            <a:ext cx="2674228" cy="1224000"/>
          </a:xfrm>
          <a:prstGeom prst="rect">
            <a:avLst/>
          </a:prstGeom>
          <a:solidFill>
            <a:schemeClr val="accent5"/>
          </a:solidFill>
          <a:ln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+mj-lt"/>
              </a:rPr>
              <a:t>User adoption may be impaired by inability to use the platform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B995B93-1CA8-480B-AD88-4A7984072B4C}"/>
              </a:ext>
            </a:extLst>
          </p:cNvPr>
          <p:cNvSpPr/>
          <p:nvPr/>
        </p:nvSpPr>
        <p:spPr>
          <a:xfrm>
            <a:off x="457843" y="3626018"/>
            <a:ext cx="1080000" cy="12240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400" dirty="0">
                <a:latin typeface="+mj-lt"/>
              </a:rPr>
              <a:t>“Stragglers” Problem</a:t>
            </a:r>
            <a:endParaRPr lang="en-US" sz="1400" dirty="0">
              <a:latin typeface="+mj-lt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8628A88-D443-4E2D-A8D9-243245451925}"/>
              </a:ext>
            </a:extLst>
          </p:cNvPr>
          <p:cNvSpPr/>
          <p:nvPr/>
        </p:nvSpPr>
        <p:spPr>
          <a:xfrm>
            <a:off x="1632468" y="3617393"/>
            <a:ext cx="2680635" cy="1224000"/>
          </a:xfrm>
          <a:prstGeom prst="rect">
            <a:avLst/>
          </a:prstGeom>
          <a:solidFill>
            <a:schemeClr val="accent5"/>
          </a:solidFill>
          <a:ln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+mj-lt"/>
              </a:rPr>
              <a:t>Network adoption often leaves out individuals who are disconnected from the community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5533046-7D12-453E-BFD2-1EB37939A373}"/>
              </a:ext>
            </a:extLst>
          </p:cNvPr>
          <p:cNvSpPr/>
          <p:nvPr/>
        </p:nvSpPr>
        <p:spPr>
          <a:xfrm>
            <a:off x="457843" y="5055371"/>
            <a:ext cx="1080000" cy="12240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+mj-lt"/>
              </a:rPr>
              <a:t>System Abus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F3F0708-764C-4928-B4A1-3C748B7D2C8D}"/>
              </a:ext>
            </a:extLst>
          </p:cNvPr>
          <p:cNvSpPr/>
          <p:nvPr/>
        </p:nvSpPr>
        <p:spPr>
          <a:xfrm>
            <a:off x="1632468" y="5046347"/>
            <a:ext cx="2674228" cy="1224000"/>
          </a:xfrm>
          <a:prstGeom prst="rect">
            <a:avLst/>
          </a:prstGeom>
          <a:solidFill>
            <a:schemeClr val="accent5"/>
          </a:solidFill>
          <a:ln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+mj-lt"/>
              </a:rPr>
              <a:t>Users may use the system in unintended ways, potentially trading contraband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0E6C34D-3E14-47E8-B30C-6A8F8C6C9A14}"/>
              </a:ext>
            </a:extLst>
          </p:cNvPr>
          <p:cNvSpPr/>
          <p:nvPr/>
        </p:nvSpPr>
        <p:spPr>
          <a:xfrm>
            <a:off x="4433950" y="2234100"/>
            <a:ext cx="2981130" cy="1224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+mj-lt"/>
              </a:rPr>
              <a:t>Current UX prompts correct usage; potential plans for better NLP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B3D24E7-F1B1-40C1-8E29-09DA3F5383CE}"/>
              </a:ext>
            </a:extLst>
          </p:cNvPr>
          <p:cNvSpPr/>
          <p:nvPr/>
        </p:nvSpPr>
        <p:spPr>
          <a:xfrm>
            <a:off x="4432403" y="3630645"/>
            <a:ext cx="2997260" cy="1224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+mj-lt"/>
              </a:rPr>
              <a:t>Employ phone advertising strategies that specifically target users distant from existing network 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824A8F7-59A7-4478-A3F3-D83D3B292884}"/>
              </a:ext>
            </a:extLst>
          </p:cNvPr>
          <p:cNvSpPr/>
          <p:nvPr/>
        </p:nvSpPr>
        <p:spPr>
          <a:xfrm>
            <a:off x="4432403" y="5046347"/>
            <a:ext cx="2995928" cy="1224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+mj-lt"/>
              </a:rPr>
              <a:t>Inform local law enforcement of infringements and make clear to users of the public information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717D5A2-2D05-43B0-8EEF-4CD744FB37EB}"/>
              </a:ext>
            </a:extLst>
          </p:cNvPr>
          <p:cNvSpPr/>
          <p:nvPr/>
        </p:nvSpPr>
        <p:spPr>
          <a:xfrm>
            <a:off x="1644715" y="1676595"/>
            <a:ext cx="2671467" cy="43746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rgbClr val="F7F2C7"/>
                </a:solidFill>
                <a:latin typeface="+mj-lt"/>
              </a:rPr>
              <a:t>Risks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1E1B05E-B163-4275-A919-D133C4865F0F}"/>
              </a:ext>
            </a:extLst>
          </p:cNvPr>
          <p:cNvSpPr/>
          <p:nvPr/>
        </p:nvSpPr>
        <p:spPr>
          <a:xfrm>
            <a:off x="4433948" y="1666490"/>
            <a:ext cx="2981130" cy="43746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rgbClr val="F7F2C7"/>
                </a:solidFill>
                <a:latin typeface="+mj-lt"/>
              </a:rPr>
              <a:t>Mitigation</a:t>
            </a:r>
          </a:p>
        </p:txBody>
      </p:sp>
      <p:sp>
        <p:nvSpPr>
          <p:cNvPr id="30" name="Shape 869">
            <a:extLst>
              <a:ext uri="{FF2B5EF4-FFF2-40B4-BE49-F238E27FC236}">
                <a16:creationId xmlns:a16="http://schemas.microsoft.com/office/drawing/2014/main" id="{875761AF-B247-4872-BA4D-5DBBBF0B7E77}"/>
              </a:ext>
            </a:extLst>
          </p:cNvPr>
          <p:cNvSpPr/>
          <p:nvPr/>
        </p:nvSpPr>
        <p:spPr>
          <a:xfrm>
            <a:off x="276740" y="1993219"/>
            <a:ext cx="386700" cy="386700"/>
          </a:xfrm>
          <a:prstGeom prst="ellipse">
            <a:avLst/>
          </a:prstGeom>
          <a:solidFill>
            <a:srgbClr val="941100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r>
              <a:rPr lang="en" b="1" dirty="0">
                <a:solidFill>
                  <a:srgbClr val="FFFFFF"/>
                </a:solidFill>
                <a:latin typeface="+mj-lt"/>
                <a:ea typeface="Open Sans"/>
                <a:cs typeface="Open Sans"/>
                <a:sym typeface="Open Sans"/>
              </a:rPr>
              <a:t>1</a:t>
            </a:r>
          </a:p>
        </p:txBody>
      </p:sp>
      <p:sp>
        <p:nvSpPr>
          <p:cNvPr id="31" name="Shape 870">
            <a:extLst>
              <a:ext uri="{FF2B5EF4-FFF2-40B4-BE49-F238E27FC236}">
                <a16:creationId xmlns:a16="http://schemas.microsoft.com/office/drawing/2014/main" id="{EAB2971E-51B4-4552-9038-25900C63500E}"/>
              </a:ext>
            </a:extLst>
          </p:cNvPr>
          <p:cNvSpPr/>
          <p:nvPr/>
        </p:nvSpPr>
        <p:spPr>
          <a:xfrm>
            <a:off x="271499" y="3504079"/>
            <a:ext cx="386700" cy="386700"/>
          </a:xfrm>
          <a:prstGeom prst="ellipse">
            <a:avLst/>
          </a:prstGeom>
          <a:solidFill>
            <a:srgbClr val="941100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r>
              <a:rPr lang="en" b="1" dirty="0">
                <a:solidFill>
                  <a:srgbClr val="FFFFFF"/>
                </a:solidFill>
                <a:latin typeface="+mj-lt"/>
                <a:ea typeface="Open Sans"/>
                <a:cs typeface="Open Sans"/>
                <a:sym typeface="Open Sans"/>
              </a:rPr>
              <a:t>2</a:t>
            </a:r>
          </a:p>
        </p:txBody>
      </p:sp>
      <p:sp>
        <p:nvSpPr>
          <p:cNvPr id="32" name="Shape 871">
            <a:extLst>
              <a:ext uri="{FF2B5EF4-FFF2-40B4-BE49-F238E27FC236}">
                <a16:creationId xmlns:a16="http://schemas.microsoft.com/office/drawing/2014/main" id="{63DF7DBE-90B0-463E-A2AE-DD1F2F982838}"/>
              </a:ext>
            </a:extLst>
          </p:cNvPr>
          <p:cNvSpPr/>
          <p:nvPr/>
        </p:nvSpPr>
        <p:spPr>
          <a:xfrm>
            <a:off x="271499" y="4887371"/>
            <a:ext cx="386700" cy="386700"/>
          </a:xfrm>
          <a:prstGeom prst="ellipse">
            <a:avLst/>
          </a:prstGeom>
          <a:solidFill>
            <a:srgbClr val="941100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r>
              <a:rPr lang="en" b="1">
                <a:solidFill>
                  <a:srgbClr val="FFFFFF"/>
                </a:solidFill>
                <a:latin typeface="+mj-lt"/>
                <a:ea typeface="Open Sans"/>
                <a:cs typeface="Open Sans"/>
                <a:sym typeface="Open Sans"/>
              </a:rPr>
              <a:t>3</a:t>
            </a:r>
          </a:p>
        </p:txBody>
      </p:sp>
      <p:sp>
        <p:nvSpPr>
          <p:cNvPr id="34" name="Shape 869">
            <a:extLst>
              <a:ext uri="{FF2B5EF4-FFF2-40B4-BE49-F238E27FC236}">
                <a16:creationId xmlns:a16="http://schemas.microsoft.com/office/drawing/2014/main" id="{05F328C9-BC3A-46B7-AAB0-3AF88ACA1D95}"/>
              </a:ext>
            </a:extLst>
          </p:cNvPr>
          <p:cNvSpPr/>
          <p:nvPr/>
        </p:nvSpPr>
        <p:spPr>
          <a:xfrm>
            <a:off x="9635675" y="3721122"/>
            <a:ext cx="386700" cy="386700"/>
          </a:xfrm>
          <a:prstGeom prst="ellipse">
            <a:avLst/>
          </a:prstGeom>
          <a:solidFill>
            <a:srgbClr val="941100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r>
              <a:rPr lang="en" b="1" dirty="0">
                <a:solidFill>
                  <a:srgbClr val="FFFFFF"/>
                </a:solidFill>
                <a:latin typeface="+mj-lt"/>
                <a:ea typeface="Open Sans"/>
                <a:cs typeface="Open Sans"/>
                <a:sym typeface="Open Sans"/>
              </a:rPr>
              <a:t>1</a:t>
            </a:r>
          </a:p>
        </p:txBody>
      </p:sp>
      <p:sp>
        <p:nvSpPr>
          <p:cNvPr id="35" name="Shape 870">
            <a:extLst>
              <a:ext uri="{FF2B5EF4-FFF2-40B4-BE49-F238E27FC236}">
                <a16:creationId xmlns:a16="http://schemas.microsoft.com/office/drawing/2014/main" id="{85DA8C71-630E-40C3-A71D-4D1D6BB032E5}"/>
              </a:ext>
            </a:extLst>
          </p:cNvPr>
          <p:cNvSpPr/>
          <p:nvPr/>
        </p:nvSpPr>
        <p:spPr>
          <a:xfrm>
            <a:off x="8608730" y="2764427"/>
            <a:ext cx="386700" cy="386700"/>
          </a:xfrm>
          <a:prstGeom prst="ellipse">
            <a:avLst/>
          </a:prstGeom>
          <a:solidFill>
            <a:srgbClr val="941100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r>
              <a:rPr lang="en" b="1" dirty="0">
                <a:solidFill>
                  <a:srgbClr val="FFFFFF"/>
                </a:solidFill>
                <a:latin typeface="+mj-lt"/>
                <a:ea typeface="Open Sans"/>
                <a:cs typeface="Open Sans"/>
                <a:sym typeface="Open Sans"/>
              </a:rPr>
              <a:t>2</a:t>
            </a:r>
          </a:p>
        </p:txBody>
      </p:sp>
      <p:sp>
        <p:nvSpPr>
          <p:cNvPr id="36" name="Shape 871">
            <a:extLst>
              <a:ext uri="{FF2B5EF4-FFF2-40B4-BE49-F238E27FC236}">
                <a16:creationId xmlns:a16="http://schemas.microsoft.com/office/drawing/2014/main" id="{989C954B-E44F-422D-90EB-65258E0D7B7F}"/>
              </a:ext>
            </a:extLst>
          </p:cNvPr>
          <p:cNvSpPr/>
          <p:nvPr/>
        </p:nvSpPr>
        <p:spPr>
          <a:xfrm>
            <a:off x="9635675" y="2764427"/>
            <a:ext cx="386700" cy="386700"/>
          </a:xfrm>
          <a:prstGeom prst="ellipse">
            <a:avLst/>
          </a:prstGeom>
          <a:solidFill>
            <a:srgbClr val="941100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r>
              <a:rPr lang="en" b="1" dirty="0">
                <a:solidFill>
                  <a:srgbClr val="FFFFFF"/>
                </a:solidFill>
                <a:latin typeface="+mj-lt"/>
                <a:ea typeface="Open Sans"/>
                <a:cs typeface="Open Sans"/>
                <a:sym typeface="Open Sans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62551196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D24940-7AE9-493E-9F9D-1CCD8276C2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Appendix V: Business Model Alternatives </a:t>
            </a:r>
          </a:p>
        </p:txBody>
      </p:sp>
      <p:graphicFrame>
        <p:nvGraphicFramePr>
          <p:cNvPr id="53" name="Shape 164">
            <a:extLst>
              <a:ext uri="{FF2B5EF4-FFF2-40B4-BE49-F238E27FC236}">
                <a16:creationId xmlns:a16="http://schemas.microsoft.com/office/drawing/2014/main" id="{F8FBA02C-406D-44A6-AF24-6EECBE960DB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76746805"/>
              </p:ext>
            </p:extLst>
          </p:nvPr>
        </p:nvGraphicFramePr>
        <p:xfrm>
          <a:off x="745111" y="1705567"/>
          <a:ext cx="10874802" cy="2714425"/>
        </p:xfrm>
        <a:graphic>
          <a:graphicData uri="http://schemas.openxmlformats.org/drawingml/2006/table">
            <a:tbl>
              <a:tblPr firstRow="1" bandRow="1">
                <a:noFill/>
              </a:tblPr>
              <a:tblGrid>
                <a:gridCol w="13483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9968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2919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44880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448803">
                  <a:extLst>
                    <a:ext uri="{9D8B030D-6E8A-4147-A177-3AD203B41FA5}">
                      <a16:colId xmlns:a16="http://schemas.microsoft.com/office/drawing/2014/main" val="3812389118"/>
                    </a:ext>
                  </a:extLst>
                </a:gridCol>
              </a:tblGrid>
              <a:tr h="381337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400" i="0" u="none" strike="noStrike" cap="none" dirty="0">
                          <a:solidFill>
                            <a:srgbClr val="000000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Category</a:t>
                      </a:r>
                      <a:endParaRPr sz="1400" baseline="30000" dirty="0">
                        <a:solidFill>
                          <a:srgbClr val="000000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0" marR="73150" marT="36575" marB="36575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762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7E8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CA" sz="1400" b="0" dirty="0">
                          <a:solidFill>
                            <a:schemeClr val="bg1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Advertising Revenue</a:t>
                      </a:r>
                      <a:endParaRPr sz="1400" b="0" baseline="30000" dirty="0">
                        <a:solidFill>
                          <a:schemeClr val="bg1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73150" marR="73150" marT="36575" marB="36575" anchor="ctr">
                    <a:lnL w="762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381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CA" sz="1400" b="0" dirty="0">
                          <a:solidFill>
                            <a:schemeClr val="bg1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“Market Place” Model</a:t>
                      </a:r>
                      <a:endParaRPr sz="1400" b="0" baseline="30000" dirty="0">
                        <a:solidFill>
                          <a:schemeClr val="bg1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73150" marR="73150" marT="36575" marB="36575" anchor="ctr">
                    <a:lnL w="381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381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None/>
                      </a:pPr>
                      <a:r>
                        <a:rPr lang="en-CA" sz="1400" b="0" dirty="0">
                          <a:solidFill>
                            <a:schemeClr val="bg1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Data monetization</a:t>
                      </a:r>
                      <a:endParaRPr sz="1400" b="0" dirty="0">
                        <a:solidFill>
                          <a:schemeClr val="bg1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73150" marR="73150" marT="36575" marB="36575" anchor="ctr">
                    <a:lnL w="381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38100" cap="flat" cmpd="sng" algn="ctr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None/>
                      </a:pPr>
                      <a:r>
                        <a:rPr lang="en-CA" sz="1400" b="0" dirty="0">
                          <a:solidFill>
                            <a:schemeClr val="bg1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Premium Grocer Access</a:t>
                      </a:r>
                      <a:endParaRPr sz="1400" b="0" dirty="0">
                        <a:solidFill>
                          <a:schemeClr val="bg1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73150" marR="73150" marT="36575" marB="36575" anchor="ctr">
                    <a:lnL w="381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381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02331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CA" sz="1400" b="1" dirty="0">
                          <a:latin typeface="Lato"/>
                          <a:ea typeface="Lato"/>
                          <a:cs typeface="Lato"/>
                          <a:sym typeface="Lato"/>
                        </a:rPr>
                        <a:t>Revenue </a:t>
                      </a:r>
                      <a:br>
                        <a:rPr lang="en-CA" sz="1400" b="1" dirty="0">
                          <a:latin typeface="Lato"/>
                          <a:ea typeface="Lato"/>
                          <a:cs typeface="Lato"/>
                          <a:sym typeface="Lato"/>
                        </a:rPr>
                      </a:br>
                      <a:r>
                        <a:rPr lang="en-CA" sz="1400" b="1" dirty="0">
                          <a:latin typeface="Lato"/>
                          <a:ea typeface="Lato"/>
                          <a:cs typeface="Lato"/>
                          <a:sym typeface="Lato"/>
                        </a:rPr>
                        <a:t>Potential</a:t>
                      </a:r>
                      <a:endParaRPr sz="1400" b="1" dirty="0"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0" marR="73150" marT="36575" marB="36575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762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100" dirty="0"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73150" marR="73150" marT="36575" marB="36575">
                    <a:lnL w="762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381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100" dirty="0"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73150" marR="73150" marT="36575" marB="36575">
                    <a:lnL w="381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381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100"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73150" marR="73150" marT="36575" marB="36575">
                    <a:lnL w="381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38100" cap="flat" cmpd="sng" algn="ctr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100"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73150" marR="73150" marT="36575" marB="36575">
                    <a:lnL w="381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381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76919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400" b="1" dirty="0">
                          <a:latin typeface="Lato"/>
                          <a:ea typeface="Lato"/>
                          <a:cs typeface="Lato"/>
                          <a:sym typeface="Lato"/>
                        </a:rPr>
                        <a:t>Competitive</a:t>
                      </a:r>
                      <a:endParaRPr sz="1400" b="1" dirty="0"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400" b="1" dirty="0">
                          <a:latin typeface="Lato"/>
                          <a:ea typeface="Lato"/>
                          <a:cs typeface="Lato"/>
                          <a:sym typeface="Lato"/>
                        </a:rPr>
                        <a:t>Advantage</a:t>
                      </a:r>
                      <a:endParaRPr sz="1400" b="1" dirty="0"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0" marR="73150" marT="36575" marB="36575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762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100" dirty="0"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73150" marR="73150" marT="36575" marB="36575">
                    <a:lnL w="762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381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100" dirty="0"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73150" marR="73150" marT="36575" marB="36575">
                    <a:lnL w="381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381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100"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73150" marR="73150" marT="36575" marB="36575">
                    <a:lnL w="381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38100" cap="flat" cmpd="sng" algn="ctr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100"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73150" marR="73150" marT="36575" marB="36575">
                    <a:lnL w="381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381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76919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CA" sz="1400" b="1" dirty="0">
                          <a:latin typeface="Lato"/>
                          <a:sym typeface="Lato"/>
                        </a:rPr>
                        <a:t>Operational Feasibility </a:t>
                      </a:r>
                      <a:endParaRPr sz="1400" b="1" dirty="0"/>
                    </a:p>
                  </a:txBody>
                  <a:tcPr marL="0" marR="73150" marT="36575" marB="36575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762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100" dirty="0"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73150" marR="73150" marT="36575" marB="36575">
                    <a:lnL w="762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381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400"/>
                    </a:p>
                  </a:txBody>
                  <a:tcPr marL="73150" marR="73150" marT="36575" marB="36575">
                    <a:lnL w="381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381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400" dirty="0"/>
                    </a:p>
                  </a:txBody>
                  <a:tcPr marL="73150" marR="73150" marT="36575" marB="36575">
                    <a:lnL w="381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38100" cap="flat" cmpd="sng" algn="ctr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400" dirty="0"/>
                    </a:p>
                  </a:txBody>
                  <a:tcPr marL="73150" marR="73150" marT="36575" marB="36575">
                    <a:lnL w="381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381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76919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400" b="1" dirty="0">
                          <a:latin typeface="Lato"/>
                          <a:ea typeface="Lato"/>
                          <a:cs typeface="Lato"/>
                          <a:sym typeface="Lato"/>
                        </a:rPr>
                        <a:t>Brand </a:t>
                      </a:r>
                      <a:br>
                        <a:rPr lang="en" sz="1400" b="1" dirty="0">
                          <a:latin typeface="Lato"/>
                          <a:ea typeface="Lato"/>
                          <a:cs typeface="Lato"/>
                          <a:sym typeface="Lato"/>
                        </a:rPr>
                      </a:br>
                      <a:r>
                        <a:rPr lang="en" sz="1400" b="1" dirty="0">
                          <a:latin typeface="Lato"/>
                          <a:ea typeface="Lato"/>
                          <a:cs typeface="Lato"/>
                          <a:sym typeface="Lato"/>
                        </a:rPr>
                        <a:t>Integrity</a:t>
                      </a:r>
                      <a:endParaRPr sz="1400" b="1" dirty="0"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0" marR="73150" marT="36575" marB="36575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762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400" dirty="0"/>
                    </a:p>
                  </a:txBody>
                  <a:tcPr marL="73150" marR="73150" marT="36575" marB="36575">
                    <a:lnL w="762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381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400" dirty="0"/>
                    </a:p>
                  </a:txBody>
                  <a:tcPr marL="73150" marR="73150" marT="36575" marB="36575">
                    <a:lnL w="381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381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400" dirty="0"/>
                    </a:p>
                  </a:txBody>
                  <a:tcPr marL="73150" marR="73150" marT="36575" marB="36575">
                    <a:lnL w="381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38100" cap="flat" cmpd="sng" algn="ctr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400" dirty="0"/>
                    </a:p>
                  </a:txBody>
                  <a:tcPr marL="73150" marR="73150" marT="36575" marB="36575">
                    <a:lnL w="381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381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4" name="Shape 165">
            <a:extLst>
              <a:ext uri="{FF2B5EF4-FFF2-40B4-BE49-F238E27FC236}">
                <a16:creationId xmlns:a16="http://schemas.microsoft.com/office/drawing/2014/main" id="{CEBABA28-9D96-4777-BDDB-A2FB00C374B8}"/>
              </a:ext>
            </a:extLst>
          </p:cNvPr>
          <p:cNvSpPr/>
          <p:nvPr/>
        </p:nvSpPr>
        <p:spPr>
          <a:xfrm>
            <a:off x="880199" y="5102764"/>
            <a:ext cx="10874802" cy="845400"/>
          </a:xfrm>
          <a:prstGeom prst="rect">
            <a:avLst/>
          </a:prstGeom>
          <a:solidFill>
            <a:srgbClr val="FFFFFF"/>
          </a:solidFill>
          <a:ln w="1905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457200" lvl="0" indent="-29210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Lato"/>
              <a:buChar char="●"/>
            </a:pPr>
            <a:r>
              <a:rPr lang="en-CA" sz="1200" dirty="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rPr>
              <a:t>Sufficient revenue stream to sustain costs. </a:t>
            </a:r>
            <a:r>
              <a:rPr lang="en-CA" sz="1200" b="1" dirty="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rPr>
              <a:t> </a:t>
            </a:r>
            <a:endParaRPr sz="1200" b="1" dirty="0">
              <a:solidFill>
                <a:schemeClr val="dk1"/>
              </a:solidFill>
              <a:latin typeface="Lato"/>
              <a:ea typeface="Lato"/>
              <a:cs typeface="Lato"/>
              <a:sym typeface="Lato"/>
            </a:endParaRPr>
          </a:p>
          <a:p>
            <a:pPr marL="457200" lvl="0" indent="-29210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Lato"/>
              <a:buChar char="●"/>
            </a:pPr>
            <a:r>
              <a:rPr lang="en-CA" sz="1200" dirty="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rPr>
              <a:t>Greatest potential for scalability given unique data set provided</a:t>
            </a:r>
            <a:endParaRPr sz="1200" b="1" dirty="0">
              <a:solidFill>
                <a:schemeClr val="dk1"/>
              </a:solidFill>
              <a:latin typeface="Lato"/>
              <a:ea typeface="Lato"/>
              <a:cs typeface="Lato"/>
              <a:sym typeface="Lato"/>
            </a:endParaRPr>
          </a:p>
          <a:p>
            <a:pPr marL="457200" lvl="0" indent="-29210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Lato"/>
              <a:buChar char="●"/>
            </a:pPr>
            <a:r>
              <a:rPr lang="en-CA" sz="1200" dirty="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rPr>
              <a:t>Operational feasibility is high given limited involvement in selling raw data</a:t>
            </a:r>
            <a:endParaRPr sz="1200" b="1" dirty="0">
              <a:solidFill>
                <a:schemeClr val="dk1"/>
              </a:solidFill>
              <a:latin typeface="Lato"/>
              <a:ea typeface="Lato"/>
              <a:cs typeface="Lato"/>
              <a:sym typeface="Lato"/>
            </a:endParaRPr>
          </a:p>
          <a:p>
            <a:pPr marL="457200" lvl="0" indent="-29210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Lato"/>
              <a:buChar char="●"/>
            </a:pPr>
            <a:r>
              <a:rPr lang="en-CA" sz="1200" dirty="0">
                <a:latin typeface="Lato"/>
                <a:ea typeface="Lato"/>
                <a:cs typeface="Lato"/>
                <a:sym typeface="Lato"/>
              </a:rPr>
              <a:t>Can be set up to run mostly passively</a:t>
            </a:r>
            <a:endParaRPr sz="1200" b="1" dirty="0"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57" name="Shape 168">
            <a:extLst>
              <a:ext uri="{FF2B5EF4-FFF2-40B4-BE49-F238E27FC236}">
                <a16:creationId xmlns:a16="http://schemas.microsoft.com/office/drawing/2014/main" id="{E644C8C3-AADF-42CE-B5EA-1825EEAEDA90}"/>
              </a:ext>
            </a:extLst>
          </p:cNvPr>
          <p:cNvSpPr/>
          <p:nvPr/>
        </p:nvSpPr>
        <p:spPr>
          <a:xfrm>
            <a:off x="10190823" y="3286936"/>
            <a:ext cx="417706" cy="421451"/>
          </a:xfrm>
          <a:prstGeom prst="ellipse">
            <a:avLst/>
          </a:prstGeom>
          <a:solidFill>
            <a:srgbClr val="38761D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9" name="Shape 170">
            <a:extLst>
              <a:ext uri="{FF2B5EF4-FFF2-40B4-BE49-F238E27FC236}">
                <a16:creationId xmlns:a16="http://schemas.microsoft.com/office/drawing/2014/main" id="{0628E6B2-5E97-429D-AAB7-9176C7502821}"/>
              </a:ext>
            </a:extLst>
          </p:cNvPr>
          <p:cNvSpPr/>
          <p:nvPr/>
        </p:nvSpPr>
        <p:spPr>
          <a:xfrm>
            <a:off x="5359996" y="3286936"/>
            <a:ext cx="421451" cy="421451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84" name="Group 83">
            <a:extLst>
              <a:ext uri="{FF2B5EF4-FFF2-40B4-BE49-F238E27FC236}">
                <a16:creationId xmlns:a16="http://schemas.microsoft.com/office/drawing/2014/main" id="{9E27C6C0-20F6-4554-9CCC-0A04EFA2F2C9}"/>
              </a:ext>
            </a:extLst>
          </p:cNvPr>
          <p:cNvGrpSpPr/>
          <p:nvPr/>
        </p:nvGrpSpPr>
        <p:grpSpPr>
          <a:xfrm>
            <a:off x="7667438" y="2698426"/>
            <a:ext cx="454511" cy="456844"/>
            <a:chOff x="5370429" y="2200354"/>
            <a:chExt cx="262500" cy="263848"/>
          </a:xfrm>
        </p:grpSpPr>
        <p:sp>
          <p:nvSpPr>
            <p:cNvPr id="58" name="Shape 169">
              <a:extLst>
                <a:ext uri="{FF2B5EF4-FFF2-40B4-BE49-F238E27FC236}">
                  <a16:creationId xmlns:a16="http://schemas.microsoft.com/office/drawing/2014/main" id="{029FB4E3-FDDD-4127-89BE-9ED551C22D15}"/>
                </a:ext>
              </a:extLst>
            </p:cNvPr>
            <p:cNvSpPr/>
            <p:nvPr/>
          </p:nvSpPr>
          <p:spPr>
            <a:xfrm>
              <a:off x="5370429" y="2201702"/>
              <a:ext cx="262500" cy="262500"/>
            </a:xfrm>
            <a:prstGeom prst="ellipse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" name="Shape 178">
              <a:extLst>
                <a:ext uri="{FF2B5EF4-FFF2-40B4-BE49-F238E27FC236}">
                  <a16:creationId xmlns:a16="http://schemas.microsoft.com/office/drawing/2014/main" id="{B1E29A59-338D-41C6-A71D-E7FFB17D7C25}"/>
                </a:ext>
              </a:extLst>
            </p:cNvPr>
            <p:cNvSpPr/>
            <p:nvPr/>
          </p:nvSpPr>
          <p:spPr>
            <a:xfrm>
              <a:off x="5370429" y="2200354"/>
              <a:ext cx="262500" cy="262500"/>
            </a:xfrm>
            <a:prstGeom prst="pie">
              <a:avLst>
                <a:gd name="adj1" fmla="val 5297816"/>
                <a:gd name="adj2" fmla="val 16200000"/>
              </a:avLst>
            </a:prstGeom>
            <a:solidFill>
              <a:srgbClr val="38761D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D4D9A4B3-F554-4289-81E2-5CDC44458502}"/>
              </a:ext>
            </a:extLst>
          </p:cNvPr>
          <p:cNvGrpSpPr/>
          <p:nvPr/>
        </p:nvGrpSpPr>
        <p:grpSpPr>
          <a:xfrm>
            <a:off x="3052553" y="2728139"/>
            <a:ext cx="421451" cy="421475"/>
            <a:chOff x="3162711" y="2713685"/>
            <a:chExt cx="262500" cy="262515"/>
          </a:xfrm>
        </p:grpSpPr>
        <p:sp>
          <p:nvSpPr>
            <p:cNvPr id="56" name="Shape 167">
              <a:extLst>
                <a:ext uri="{FF2B5EF4-FFF2-40B4-BE49-F238E27FC236}">
                  <a16:creationId xmlns:a16="http://schemas.microsoft.com/office/drawing/2014/main" id="{3211BE79-C3EA-4F42-9714-892D7A47C192}"/>
                </a:ext>
              </a:extLst>
            </p:cNvPr>
            <p:cNvSpPr/>
            <p:nvPr/>
          </p:nvSpPr>
          <p:spPr>
            <a:xfrm>
              <a:off x="3162711" y="2713685"/>
              <a:ext cx="262500" cy="262500"/>
            </a:xfrm>
            <a:prstGeom prst="ellipse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" name="Shape 179">
              <a:extLst>
                <a:ext uri="{FF2B5EF4-FFF2-40B4-BE49-F238E27FC236}">
                  <a16:creationId xmlns:a16="http://schemas.microsoft.com/office/drawing/2014/main" id="{305D3AE4-8700-434A-8B8B-1A66C139A3DD}"/>
                </a:ext>
              </a:extLst>
            </p:cNvPr>
            <p:cNvSpPr/>
            <p:nvPr/>
          </p:nvSpPr>
          <p:spPr>
            <a:xfrm>
              <a:off x="3162711" y="2713700"/>
              <a:ext cx="262500" cy="262500"/>
            </a:xfrm>
            <a:prstGeom prst="pie">
              <a:avLst>
                <a:gd name="adj1" fmla="val 5463481"/>
                <a:gd name="adj2" fmla="val 16200000"/>
              </a:avLst>
            </a:prstGeom>
            <a:solidFill>
              <a:srgbClr val="38761D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63C64A6F-79C1-4CFC-8B7F-EE279873DBE9}"/>
              </a:ext>
            </a:extLst>
          </p:cNvPr>
          <p:cNvGrpSpPr/>
          <p:nvPr/>
        </p:nvGrpSpPr>
        <p:grpSpPr>
          <a:xfrm>
            <a:off x="7674127" y="2156810"/>
            <a:ext cx="411018" cy="411018"/>
            <a:chOff x="7024984" y="2363943"/>
            <a:chExt cx="262500" cy="262500"/>
          </a:xfrm>
        </p:grpSpPr>
        <p:sp>
          <p:nvSpPr>
            <p:cNvPr id="55" name="Shape 166">
              <a:extLst>
                <a:ext uri="{FF2B5EF4-FFF2-40B4-BE49-F238E27FC236}">
                  <a16:creationId xmlns:a16="http://schemas.microsoft.com/office/drawing/2014/main" id="{7FAAA377-7BD8-4703-8698-110A655627F6}"/>
                </a:ext>
              </a:extLst>
            </p:cNvPr>
            <p:cNvSpPr/>
            <p:nvPr/>
          </p:nvSpPr>
          <p:spPr>
            <a:xfrm>
              <a:off x="7024984" y="2363943"/>
              <a:ext cx="262500" cy="262500"/>
            </a:xfrm>
            <a:prstGeom prst="ellipse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" name="Shape 180">
              <a:extLst>
                <a:ext uri="{FF2B5EF4-FFF2-40B4-BE49-F238E27FC236}">
                  <a16:creationId xmlns:a16="http://schemas.microsoft.com/office/drawing/2014/main" id="{9E72FDCC-811B-4A61-98F8-15B854B51447}"/>
                </a:ext>
              </a:extLst>
            </p:cNvPr>
            <p:cNvSpPr/>
            <p:nvPr/>
          </p:nvSpPr>
          <p:spPr>
            <a:xfrm>
              <a:off x="7024984" y="2363943"/>
              <a:ext cx="262500" cy="262500"/>
            </a:xfrm>
            <a:prstGeom prst="pie">
              <a:avLst>
                <a:gd name="adj1" fmla="val 0"/>
                <a:gd name="adj2" fmla="val 16200000"/>
              </a:avLst>
            </a:prstGeom>
            <a:solidFill>
              <a:srgbClr val="38761D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C3BCC0FC-365F-48C4-B68A-1268927D2B2C}"/>
              </a:ext>
            </a:extLst>
          </p:cNvPr>
          <p:cNvGrpSpPr/>
          <p:nvPr/>
        </p:nvGrpSpPr>
        <p:grpSpPr>
          <a:xfrm>
            <a:off x="5359996" y="2146377"/>
            <a:ext cx="421451" cy="421451"/>
            <a:chOff x="7311225" y="2623967"/>
            <a:chExt cx="262500" cy="262500"/>
          </a:xfrm>
        </p:grpSpPr>
        <p:sp>
          <p:nvSpPr>
            <p:cNvPr id="60" name="Shape 171">
              <a:extLst>
                <a:ext uri="{FF2B5EF4-FFF2-40B4-BE49-F238E27FC236}">
                  <a16:creationId xmlns:a16="http://schemas.microsoft.com/office/drawing/2014/main" id="{966C761A-70ED-4E18-8E7A-A0885979BFC0}"/>
                </a:ext>
              </a:extLst>
            </p:cNvPr>
            <p:cNvSpPr/>
            <p:nvPr/>
          </p:nvSpPr>
          <p:spPr>
            <a:xfrm>
              <a:off x="7311225" y="2623967"/>
              <a:ext cx="262500" cy="262500"/>
            </a:xfrm>
            <a:prstGeom prst="ellipse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" name="Shape 181">
              <a:extLst>
                <a:ext uri="{FF2B5EF4-FFF2-40B4-BE49-F238E27FC236}">
                  <a16:creationId xmlns:a16="http://schemas.microsoft.com/office/drawing/2014/main" id="{C1733AD1-3753-4216-A5B7-B3AC55154FD0}"/>
                </a:ext>
              </a:extLst>
            </p:cNvPr>
            <p:cNvSpPr/>
            <p:nvPr/>
          </p:nvSpPr>
          <p:spPr>
            <a:xfrm>
              <a:off x="7311225" y="2623967"/>
              <a:ext cx="262500" cy="262500"/>
            </a:xfrm>
            <a:prstGeom prst="pie">
              <a:avLst>
                <a:gd name="adj1" fmla="val 10717025"/>
                <a:gd name="adj2" fmla="val 16200000"/>
              </a:avLst>
            </a:prstGeom>
            <a:solidFill>
              <a:srgbClr val="38761D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FDA397AE-CCDC-4EAD-BBFA-EFEEF19CF1E9}"/>
              </a:ext>
            </a:extLst>
          </p:cNvPr>
          <p:cNvGrpSpPr/>
          <p:nvPr/>
        </p:nvGrpSpPr>
        <p:grpSpPr>
          <a:xfrm>
            <a:off x="3052553" y="2166419"/>
            <a:ext cx="421452" cy="421452"/>
            <a:chOff x="2983736" y="2206240"/>
            <a:chExt cx="262500" cy="262500"/>
          </a:xfrm>
        </p:grpSpPr>
        <p:sp>
          <p:nvSpPr>
            <p:cNvPr id="63" name="Shape 174">
              <a:extLst>
                <a:ext uri="{FF2B5EF4-FFF2-40B4-BE49-F238E27FC236}">
                  <a16:creationId xmlns:a16="http://schemas.microsoft.com/office/drawing/2014/main" id="{DD02E106-8154-4A6D-951D-D69084A37281}"/>
                </a:ext>
              </a:extLst>
            </p:cNvPr>
            <p:cNvSpPr/>
            <p:nvPr/>
          </p:nvSpPr>
          <p:spPr>
            <a:xfrm>
              <a:off x="2983736" y="2206240"/>
              <a:ext cx="262500" cy="262500"/>
            </a:xfrm>
            <a:prstGeom prst="ellipse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" name="Shape 182">
              <a:extLst>
                <a:ext uri="{FF2B5EF4-FFF2-40B4-BE49-F238E27FC236}">
                  <a16:creationId xmlns:a16="http://schemas.microsoft.com/office/drawing/2014/main" id="{66A6CC71-5E3E-44EF-B217-532ED6AD42F7}"/>
                </a:ext>
              </a:extLst>
            </p:cNvPr>
            <p:cNvSpPr/>
            <p:nvPr/>
          </p:nvSpPr>
          <p:spPr>
            <a:xfrm>
              <a:off x="2983736" y="2206240"/>
              <a:ext cx="262500" cy="262500"/>
            </a:xfrm>
            <a:prstGeom prst="pie">
              <a:avLst>
                <a:gd name="adj1" fmla="val 10920064"/>
                <a:gd name="adj2" fmla="val 16200000"/>
              </a:avLst>
            </a:prstGeom>
            <a:solidFill>
              <a:srgbClr val="38761D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9EFF3EB0-DF73-448A-9F37-66BEC0332710}"/>
              </a:ext>
            </a:extLst>
          </p:cNvPr>
          <p:cNvGrpSpPr/>
          <p:nvPr/>
        </p:nvGrpSpPr>
        <p:grpSpPr>
          <a:xfrm>
            <a:off x="7662101" y="3872840"/>
            <a:ext cx="453367" cy="453367"/>
            <a:chOff x="6737653" y="3860852"/>
            <a:chExt cx="262500" cy="262500"/>
          </a:xfrm>
        </p:grpSpPr>
        <p:sp>
          <p:nvSpPr>
            <p:cNvPr id="62" name="Shape 173">
              <a:extLst>
                <a:ext uri="{FF2B5EF4-FFF2-40B4-BE49-F238E27FC236}">
                  <a16:creationId xmlns:a16="http://schemas.microsoft.com/office/drawing/2014/main" id="{A5EA38DA-C1D6-46EE-B1F7-7DC53C4976DA}"/>
                </a:ext>
              </a:extLst>
            </p:cNvPr>
            <p:cNvSpPr/>
            <p:nvPr/>
          </p:nvSpPr>
          <p:spPr>
            <a:xfrm>
              <a:off x="6737653" y="3860852"/>
              <a:ext cx="262500" cy="262500"/>
            </a:xfrm>
            <a:prstGeom prst="ellipse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" name="Shape 183">
              <a:extLst>
                <a:ext uri="{FF2B5EF4-FFF2-40B4-BE49-F238E27FC236}">
                  <a16:creationId xmlns:a16="http://schemas.microsoft.com/office/drawing/2014/main" id="{032D17CF-47AD-473B-8A70-AAF424B91D2B}"/>
                </a:ext>
              </a:extLst>
            </p:cNvPr>
            <p:cNvSpPr/>
            <p:nvPr/>
          </p:nvSpPr>
          <p:spPr>
            <a:xfrm>
              <a:off x="6737653" y="3860852"/>
              <a:ext cx="262500" cy="262500"/>
            </a:xfrm>
            <a:prstGeom prst="pie">
              <a:avLst>
                <a:gd name="adj1" fmla="val 5410677"/>
                <a:gd name="adj2" fmla="val 16200000"/>
              </a:avLst>
            </a:prstGeom>
            <a:solidFill>
              <a:srgbClr val="38761D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A1BA9A82-A334-4B40-8E03-6A35FAF32C28}"/>
              </a:ext>
            </a:extLst>
          </p:cNvPr>
          <p:cNvGrpSpPr/>
          <p:nvPr/>
        </p:nvGrpSpPr>
        <p:grpSpPr>
          <a:xfrm>
            <a:off x="3044684" y="3269557"/>
            <a:ext cx="429320" cy="438830"/>
            <a:chOff x="3363485" y="3254131"/>
            <a:chExt cx="262500" cy="268315"/>
          </a:xfrm>
        </p:grpSpPr>
        <p:sp>
          <p:nvSpPr>
            <p:cNvPr id="61" name="Shape 172">
              <a:extLst>
                <a:ext uri="{FF2B5EF4-FFF2-40B4-BE49-F238E27FC236}">
                  <a16:creationId xmlns:a16="http://schemas.microsoft.com/office/drawing/2014/main" id="{128BB73D-0B3F-4845-8270-B34D6EBD528D}"/>
                </a:ext>
              </a:extLst>
            </p:cNvPr>
            <p:cNvSpPr/>
            <p:nvPr/>
          </p:nvSpPr>
          <p:spPr>
            <a:xfrm>
              <a:off x="3363485" y="3254131"/>
              <a:ext cx="262500" cy="262500"/>
            </a:xfrm>
            <a:prstGeom prst="ellipse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" name="Shape 184">
              <a:extLst>
                <a:ext uri="{FF2B5EF4-FFF2-40B4-BE49-F238E27FC236}">
                  <a16:creationId xmlns:a16="http://schemas.microsoft.com/office/drawing/2014/main" id="{A88815DD-9B54-4367-A11C-37CF6A6E2E32}"/>
                </a:ext>
              </a:extLst>
            </p:cNvPr>
            <p:cNvSpPr/>
            <p:nvPr/>
          </p:nvSpPr>
          <p:spPr>
            <a:xfrm>
              <a:off x="3363485" y="3259946"/>
              <a:ext cx="262500" cy="262500"/>
            </a:xfrm>
            <a:prstGeom prst="pie">
              <a:avLst>
                <a:gd name="adj1" fmla="val 105050"/>
                <a:gd name="adj2" fmla="val 16200000"/>
              </a:avLst>
            </a:prstGeom>
            <a:solidFill>
              <a:srgbClr val="38761D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EA5C40E2-B2D1-4F43-80D5-0E4B8D42B50B}"/>
              </a:ext>
            </a:extLst>
          </p:cNvPr>
          <p:cNvGrpSpPr/>
          <p:nvPr/>
        </p:nvGrpSpPr>
        <p:grpSpPr>
          <a:xfrm>
            <a:off x="5359768" y="3860852"/>
            <a:ext cx="421451" cy="421451"/>
            <a:chOff x="3052553" y="3949483"/>
            <a:chExt cx="262500" cy="262500"/>
          </a:xfrm>
        </p:grpSpPr>
        <p:sp>
          <p:nvSpPr>
            <p:cNvPr id="64" name="Shape 175">
              <a:extLst>
                <a:ext uri="{FF2B5EF4-FFF2-40B4-BE49-F238E27FC236}">
                  <a16:creationId xmlns:a16="http://schemas.microsoft.com/office/drawing/2014/main" id="{370A4B45-F56D-4E24-BE5E-BD0F59B88AA2}"/>
                </a:ext>
              </a:extLst>
            </p:cNvPr>
            <p:cNvSpPr/>
            <p:nvPr/>
          </p:nvSpPr>
          <p:spPr>
            <a:xfrm>
              <a:off x="3052553" y="3949483"/>
              <a:ext cx="262500" cy="262500"/>
            </a:xfrm>
            <a:prstGeom prst="ellipse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" name="Shape 185">
              <a:extLst>
                <a:ext uri="{FF2B5EF4-FFF2-40B4-BE49-F238E27FC236}">
                  <a16:creationId xmlns:a16="http://schemas.microsoft.com/office/drawing/2014/main" id="{9C4B428F-823D-4D2B-864F-F52DB11292F5}"/>
                </a:ext>
              </a:extLst>
            </p:cNvPr>
            <p:cNvSpPr/>
            <p:nvPr/>
          </p:nvSpPr>
          <p:spPr>
            <a:xfrm>
              <a:off x="3052553" y="3949483"/>
              <a:ext cx="262500" cy="262500"/>
            </a:xfrm>
            <a:prstGeom prst="pie">
              <a:avLst>
                <a:gd name="adj1" fmla="val 5309171"/>
                <a:gd name="adj2" fmla="val 16200000"/>
              </a:avLst>
            </a:prstGeom>
            <a:solidFill>
              <a:srgbClr val="38761D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92A4305A-E900-43D4-91B1-174DB8A5B0A5}"/>
              </a:ext>
            </a:extLst>
          </p:cNvPr>
          <p:cNvGrpSpPr/>
          <p:nvPr/>
        </p:nvGrpSpPr>
        <p:grpSpPr>
          <a:xfrm>
            <a:off x="7674127" y="3269557"/>
            <a:ext cx="447823" cy="429319"/>
            <a:chOff x="7034060" y="3597616"/>
            <a:chExt cx="273814" cy="262500"/>
          </a:xfrm>
        </p:grpSpPr>
        <p:sp>
          <p:nvSpPr>
            <p:cNvPr id="65" name="Shape 176">
              <a:extLst>
                <a:ext uri="{FF2B5EF4-FFF2-40B4-BE49-F238E27FC236}">
                  <a16:creationId xmlns:a16="http://schemas.microsoft.com/office/drawing/2014/main" id="{AFDC1C4F-A2EC-4458-BC71-7F1A0E82A0B5}"/>
                </a:ext>
              </a:extLst>
            </p:cNvPr>
            <p:cNvSpPr/>
            <p:nvPr/>
          </p:nvSpPr>
          <p:spPr>
            <a:xfrm>
              <a:off x="7045374" y="3597616"/>
              <a:ext cx="262500" cy="262500"/>
            </a:xfrm>
            <a:prstGeom prst="ellipse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" name="Shape 186">
              <a:extLst>
                <a:ext uri="{FF2B5EF4-FFF2-40B4-BE49-F238E27FC236}">
                  <a16:creationId xmlns:a16="http://schemas.microsoft.com/office/drawing/2014/main" id="{382EBFE3-E569-4A36-AF39-10BD3F44B2D5}"/>
                </a:ext>
              </a:extLst>
            </p:cNvPr>
            <p:cNvSpPr/>
            <p:nvPr/>
          </p:nvSpPr>
          <p:spPr>
            <a:xfrm>
              <a:off x="7034060" y="3597616"/>
              <a:ext cx="262500" cy="262500"/>
            </a:xfrm>
            <a:prstGeom prst="pie">
              <a:avLst>
                <a:gd name="adj1" fmla="val 0"/>
                <a:gd name="adj2" fmla="val 16200000"/>
              </a:avLst>
            </a:prstGeom>
            <a:solidFill>
              <a:srgbClr val="38761D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76" name="Shape 187">
            <a:extLst>
              <a:ext uri="{FF2B5EF4-FFF2-40B4-BE49-F238E27FC236}">
                <a16:creationId xmlns:a16="http://schemas.microsoft.com/office/drawing/2014/main" id="{3A014F4E-3957-4A22-8103-44D3BCC05BFB}"/>
              </a:ext>
            </a:extLst>
          </p:cNvPr>
          <p:cNvSpPr txBox="1"/>
          <p:nvPr/>
        </p:nvSpPr>
        <p:spPr>
          <a:xfrm>
            <a:off x="2792161" y="4597857"/>
            <a:ext cx="6401700" cy="367500"/>
          </a:xfrm>
          <a:prstGeom prst="rect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 dirty="0">
                <a:latin typeface="Lato"/>
                <a:ea typeface="Lato"/>
                <a:cs typeface="Lato"/>
                <a:sym typeface="Lato"/>
              </a:rPr>
              <a:t>Why Focus on </a:t>
            </a:r>
            <a:r>
              <a:rPr lang="en-CA" sz="1600" dirty="0">
                <a:latin typeface="Lato"/>
                <a:ea typeface="Lato"/>
                <a:cs typeface="Lato"/>
                <a:sym typeface="Lato"/>
              </a:rPr>
              <a:t>Data Monetization</a:t>
            </a:r>
            <a:r>
              <a:rPr lang="en" sz="1600" dirty="0">
                <a:latin typeface="Lato"/>
                <a:ea typeface="Lato"/>
                <a:cs typeface="Lato"/>
                <a:sym typeface="Lato"/>
              </a:rPr>
              <a:t> ?</a:t>
            </a:r>
            <a:endParaRPr sz="1600" dirty="0">
              <a:latin typeface="Lato"/>
              <a:ea typeface="Lato"/>
              <a:cs typeface="Lato"/>
              <a:sym typeface="Lato"/>
            </a:endParaRPr>
          </a:p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endParaRPr sz="1400" dirty="0"/>
          </a:p>
        </p:txBody>
      </p:sp>
      <p:grpSp>
        <p:nvGrpSpPr>
          <p:cNvPr id="81" name="Group 80">
            <a:extLst>
              <a:ext uri="{FF2B5EF4-FFF2-40B4-BE49-F238E27FC236}">
                <a16:creationId xmlns:a16="http://schemas.microsoft.com/office/drawing/2014/main" id="{1E700631-330D-43B9-ACF8-25A4380D0840}"/>
              </a:ext>
            </a:extLst>
          </p:cNvPr>
          <p:cNvGrpSpPr/>
          <p:nvPr/>
        </p:nvGrpSpPr>
        <p:grpSpPr>
          <a:xfrm>
            <a:off x="3052553" y="3860852"/>
            <a:ext cx="421452" cy="421452"/>
            <a:chOff x="2983736" y="2206240"/>
            <a:chExt cx="262500" cy="262500"/>
          </a:xfrm>
        </p:grpSpPr>
        <p:sp>
          <p:nvSpPr>
            <p:cNvPr id="82" name="Shape 174">
              <a:extLst>
                <a:ext uri="{FF2B5EF4-FFF2-40B4-BE49-F238E27FC236}">
                  <a16:creationId xmlns:a16="http://schemas.microsoft.com/office/drawing/2014/main" id="{FFD45264-9EDD-4008-8061-EF7BC381A52B}"/>
                </a:ext>
              </a:extLst>
            </p:cNvPr>
            <p:cNvSpPr/>
            <p:nvPr/>
          </p:nvSpPr>
          <p:spPr>
            <a:xfrm>
              <a:off x="2983736" y="2206240"/>
              <a:ext cx="262500" cy="262500"/>
            </a:xfrm>
            <a:prstGeom prst="ellipse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" name="Shape 182">
              <a:extLst>
                <a:ext uri="{FF2B5EF4-FFF2-40B4-BE49-F238E27FC236}">
                  <a16:creationId xmlns:a16="http://schemas.microsoft.com/office/drawing/2014/main" id="{1FC8A884-7EF4-4BEB-9C51-B4AF4DAD75B5}"/>
                </a:ext>
              </a:extLst>
            </p:cNvPr>
            <p:cNvSpPr/>
            <p:nvPr/>
          </p:nvSpPr>
          <p:spPr>
            <a:xfrm>
              <a:off x="2983736" y="2206240"/>
              <a:ext cx="262500" cy="262500"/>
            </a:xfrm>
            <a:prstGeom prst="pie">
              <a:avLst>
                <a:gd name="adj1" fmla="val 10920064"/>
                <a:gd name="adj2" fmla="val 16200000"/>
              </a:avLst>
            </a:prstGeom>
            <a:solidFill>
              <a:srgbClr val="38761D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A8A3C8D1-55D7-4052-BEE5-6E20FB0D00EC}"/>
              </a:ext>
            </a:extLst>
          </p:cNvPr>
          <p:cNvGrpSpPr/>
          <p:nvPr/>
        </p:nvGrpSpPr>
        <p:grpSpPr>
          <a:xfrm>
            <a:off x="5359996" y="2728021"/>
            <a:ext cx="421451" cy="421451"/>
            <a:chOff x="7311225" y="2623967"/>
            <a:chExt cx="262500" cy="262500"/>
          </a:xfrm>
        </p:grpSpPr>
        <p:sp>
          <p:nvSpPr>
            <p:cNvPr id="87" name="Shape 171">
              <a:extLst>
                <a:ext uri="{FF2B5EF4-FFF2-40B4-BE49-F238E27FC236}">
                  <a16:creationId xmlns:a16="http://schemas.microsoft.com/office/drawing/2014/main" id="{5D6E25BE-4B20-4838-8D78-BB886D1E6F5C}"/>
                </a:ext>
              </a:extLst>
            </p:cNvPr>
            <p:cNvSpPr/>
            <p:nvPr/>
          </p:nvSpPr>
          <p:spPr>
            <a:xfrm>
              <a:off x="7311225" y="2623967"/>
              <a:ext cx="262500" cy="262500"/>
            </a:xfrm>
            <a:prstGeom prst="ellipse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" name="Shape 181">
              <a:extLst>
                <a:ext uri="{FF2B5EF4-FFF2-40B4-BE49-F238E27FC236}">
                  <a16:creationId xmlns:a16="http://schemas.microsoft.com/office/drawing/2014/main" id="{0540E159-D2D2-4FE8-9917-E53B36DC1923}"/>
                </a:ext>
              </a:extLst>
            </p:cNvPr>
            <p:cNvSpPr/>
            <p:nvPr/>
          </p:nvSpPr>
          <p:spPr>
            <a:xfrm>
              <a:off x="7311225" y="2623967"/>
              <a:ext cx="262500" cy="262500"/>
            </a:xfrm>
            <a:prstGeom prst="pie">
              <a:avLst>
                <a:gd name="adj1" fmla="val 10717025"/>
                <a:gd name="adj2" fmla="val 16200000"/>
              </a:avLst>
            </a:prstGeom>
            <a:solidFill>
              <a:srgbClr val="38761D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D32E63BB-7ECA-4678-A2F3-DC58986D539D}"/>
              </a:ext>
            </a:extLst>
          </p:cNvPr>
          <p:cNvGrpSpPr/>
          <p:nvPr/>
        </p:nvGrpSpPr>
        <p:grpSpPr>
          <a:xfrm>
            <a:off x="10190823" y="2156810"/>
            <a:ext cx="411018" cy="411018"/>
            <a:chOff x="7024984" y="2363943"/>
            <a:chExt cx="262500" cy="262500"/>
          </a:xfrm>
        </p:grpSpPr>
        <p:sp>
          <p:nvSpPr>
            <p:cNvPr id="93" name="Shape 166">
              <a:extLst>
                <a:ext uri="{FF2B5EF4-FFF2-40B4-BE49-F238E27FC236}">
                  <a16:creationId xmlns:a16="http://schemas.microsoft.com/office/drawing/2014/main" id="{E0E04209-9A1B-4272-8AC2-AEE078EE4B67}"/>
                </a:ext>
              </a:extLst>
            </p:cNvPr>
            <p:cNvSpPr/>
            <p:nvPr/>
          </p:nvSpPr>
          <p:spPr>
            <a:xfrm>
              <a:off x="7024984" y="2363943"/>
              <a:ext cx="262500" cy="262500"/>
            </a:xfrm>
            <a:prstGeom prst="ellipse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" name="Shape 180">
              <a:extLst>
                <a:ext uri="{FF2B5EF4-FFF2-40B4-BE49-F238E27FC236}">
                  <a16:creationId xmlns:a16="http://schemas.microsoft.com/office/drawing/2014/main" id="{DEF0E77A-770D-4D0F-B806-E6D8DD8AFD10}"/>
                </a:ext>
              </a:extLst>
            </p:cNvPr>
            <p:cNvSpPr/>
            <p:nvPr/>
          </p:nvSpPr>
          <p:spPr>
            <a:xfrm>
              <a:off x="7024984" y="2363943"/>
              <a:ext cx="262500" cy="262500"/>
            </a:xfrm>
            <a:prstGeom prst="pie">
              <a:avLst>
                <a:gd name="adj1" fmla="val 0"/>
                <a:gd name="adj2" fmla="val 16200000"/>
              </a:avLst>
            </a:prstGeom>
            <a:solidFill>
              <a:srgbClr val="38761D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5" name="Group 94">
            <a:extLst>
              <a:ext uri="{FF2B5EF4-FFF2-40B4-BE49-F238E27FC236}">
                <a16:creationId xmlns:a16="http://schemas.microsoft.com/office/drawing/2014/main" id="{AD1FB983-593E-4A8D-8B91-93298208F026}"/>
              </a:ext>
            </a:extLst>
          </p:cNvPr>
          <p:cNvGrpSpPr/>
          <p:nvPr/>
        </p:nvGrpSpPr>
        <p:grpSpPr>
          <a:xfrm>
            <a:off x="10190823" y="2698426"/>
            <a:ext cx="411018" cy="411018"/>
            <a:chOff x="7024984" y="2363943"/>
            <a:chExt cx="262500" cy="262500"/>
          </a:xfrm>
        </p:grpSpPr>
        <p:sp>
          <p:nvSpPr>
            <p:cNvPr id="96" name="Shape 166">
              <a:extLst>
                <a:ext uri="{FF2B5EF4-FFF2-40B4-BE49-F238E27FC236}">
                  <a16:creationId xmlns:a16="http://schemas.microsoft.com/office/drawing/2014/main" id="{394A6947-5CA4-41BF-8B25-A6611904050E}"/>
                </a:ext>
              </a:extLst>
            </p:cNvPr>
            <p:cNvSpPr/>
            <p:nvPr/>
          </p:nvSpPr>
          <p:spPr>
            <a:xfrm>
              <a:off x="7024984" y="2363943"/>
              <a:ext cx="262500" cy="262500"/>
            </a:xfrm>
            <a:prstGeom prst="ellipse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" name="Shape 180">
              <a:extLst>
                <a:ext uri="{FF2B5EF4-FFF2-40B4-BE49-F238E27FC236}">
                  <a16:creationId xmlns:a16="http://schemas.microsoft.com/office/drawing/2014/main" id="{322FB674-97DF-4231-8AB3-E016281E84C6}"/>
                </a:ext>
              </a:extLst>
            </p:cNvPr>
            <p:cNvSpPr/>
            <p:nvPr/>
          </p:nvSpPr>
          <p:spPr>
            <a:xfrm>
              <a:off x="7024984" y="2363943"/>
              <a:ext cx="262500" cy="262500"/>
            </a:xfrm>
            <a:prstGeom prst="pie">
              <a:avLst>
                <a:gd name="adj1" fmla="val 0"/>
                <a:gd name="adj2" fmla="val 16200000"/>
              </a:avLst>
            </a:prstGeom>
            <a:solidFill>
              <a:srgbClr val="38761D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24AEE6B0-CFFB-457B-943E-49F15C79A6F7}"/>
              </a:ext>
            </a:extLst>
          </p:cNvPr>
          <p:cNvGrpSpPr/>
          <p:nvPr/>
        </p:nvGrpSpPr>
        <p:grpSpPr>
          <a:xfrm>
            <a:off x="10180389" y="3860852"/>
            <a:ext cx="421452" cy="421452"/>
            <a:chOff x="2983736" y="2206240"/>
            <a:chExt cx="262500" cy="262500"/>
          </a:xfrm>
        </p:grpSpPr>
        <p:sp>
          <p:nvSpPr>
            <p:cNvPr id="99" name="Shape 174">
              <a:extLst>
                <a:ext uri="{FF2B5EF4-FFF2-40B4-BE49-F238E27FC236}">
                  <a16:creationId xmlns:a16="http://schemas.microsoft.com/office/drawing/2014/main" id="{B545103A-A897-4979-930C-6B232BF13408}"/>
                </a:ext>
              </a:extLst>
            </p:cNvPr>
            <p:cNvSpPr/>
            <p:nvPr/>
          </p:nvSpPr>
          <p:spPr>
            <a:xfrm>
              <a:off x="2983736" y="2206240"/>
              <a:ext cx="262500" cy="262500"/>
            </a:xfrm>
            <a:prstGeom prst="ellipse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" name="Shape 182">
              <a:extLst>
                <a:ext uri="{FF2B5EF4-FFF2-40B4-BE49-F238E27FC236}">
                  <a16:creationId xmlns:a16="http://schemas.microsoft.com/office/drawing/2014/main" id="{4CF90C0F-2DB2-43FB-9D61-9B99489085F7}"/>
                </a:ext>
              </a:extLst>
            </p:cNvPr>
            <p:cNvSpPr/>
            <p:nvPr/>
          </p:nvSpPr>
          <p:spPr>
            <a:xfrm>
              <a:off x="2983736" y="2206240"/>
              <a:ext cx="262500" cy="262500"/>
            </a:xfrm>
            <a:prstGeom prst="pie">
              <a:avLst>
                <a:gd name="adj1" fmla="val 10920064"/>
                <a:gd name="adj2" fmla="val 16200000"/>
              </a:avLst>
            </a:prstGeom>
            <a:solidFill>
              <a:srgbClr val="38761D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99328499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265160-C346-46D1-9065-A8D00D5BF0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Appendix VI: Implementation Timeline</a:t>
            </a:r>
          </a:p>
        </p:txBody>
      </p:sp>
      <p:graphicFrame>
        <p:nvGraphicFramePr>
          <p:cNvPr id="3" name="Shape 222">
            <a:extLst>
              <a:ext uri="{FF2B5EF4-FFF2-40B4-BE49-F238E27FC236}">
                <a16:creationId xmlns:a16="http://schemas.microsoft.com/office/drawing/2014/main" id="{B0007BA5-5B4E-43D2-81B0-3EFF9454F3B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470006"/>
              </p:ext>
            </p:extLst>
          </p:nvPr>
        </p:nvGraphicFramePr>
        <p:xfrm>
          <a:off x="511276" y="1606732"/>
          <a:ext cx="11169448" cy="4606644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31912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9781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9781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9781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9781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797818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797818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797818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797818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797818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797818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</a:tblGrid>
              <a:tr h="641508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>
                        <a:solidFill>
                          <a:srgbClr val="FFFFFF"/>
                        </a:solidFill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CA" sz="1000" dirty="0">
                          <a:latin typeface="Corbel" panose="020B0503020204020204" pitchFamily="34" charset="0"/>
                          <a:ea typeface="Lato"/>
                          <a:cs typeface="Lato"/>
                          <a:sym typeface="Lato"/>
                        </a:rPr>
                        <a:t>2019 (Startup)</a:t>
                      </a:r>
                      <a:endParaRPr sz="1000" dirty="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CA" sz="1000" dirty="0">
                          <a:latin typeface="Corbel" panose="020B0503020204020204" pitchFamily="34" charset="0"/>
                          <a:ea typeface="Lato"/>
                          <a:cs typeface="Lato"/>
                          <a:sym typeface="Lato"/>
                        </a:rPr>
                        <a:t>2020</a:t>
                      </a:r>
                      <a:endParaRPr sz="1000" dirty="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CA" sz="1000" dirty="0">
                          <a:latin typeface="Corbel" panose="020B0503020204020204" pitchFamily="34" charset="0"/>
                          <a:ea typeface="Lato"/>
                          <a:cs typeface="Lato"/>
                          <a:sym typeface="Lato"/>
                        </a:rPr>
                        <a:t>2021</a:t>
                      </a:r>
                      <a:endParaRPr sz="1000" dirty="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CA" sz="1000" dirty="0">
                          <a:latin typeface="Corbel" panose="020B0503020204020204" pitchFamily="34" charset="0"/>
                          <a:ea typeface="Lato"/>
                          <a:cs typeface="Lato"/>
                          <a:sym typeface="Lato"/>
                        </a:rPr>
                        <a:t>2022</a:t>
                      </a:r>
                      <a:endParaRPr sz="1000" dirty="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CA" sz="1000" dirty="0">
                          <a:latin typeface="Corbel" panose="020B0503020204020204" pitchFamily="34" charset="0"/>
                          <a:ea typeface="Lato"/>
                          <a:cs typeface="Lato"/>
                          <a:sym typeface="Lato"/>
                        </a:rPr>
                        <a:t>2023</a:t>
                      </a:r>
                      <a:endParaRPr sz="1000" dirty="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4150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rgbClr val="FFFFFF"/>
                          </a:solidFill>
                          <a:latin typeface="Corbel" panose="020B0503020204020204" pitchFamily="34" charset="0"/>
                          <a:ea typeface="Lato"/>
                          <a:cs typeface="Lato"/>
                          <a:sym typeface="Lato"/>
                        </a:rPr>
                        <a:t>Set-up server and hire IT staff</a:t>
                      </a:r>
                    </a:p>
                  </a:txBody>
                  <a:tcPr marL="91425" marR="91425" marT="91425" marB="91425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4227334"/>
                  </a:ext>
                </a:extLst>
              </a:tr>
              <a:tr h="65253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CA" sz="1600" dirty="0">
                          <a:solidFill>
                            <a:srgbClr val="FFFFFF"/>
                          </a:solidFill>
                          <a:latin typeface="Corbel" panose="020B0503020204020204" pitchFamily="34" charset="0"/>
                          <a:ea typeface="Lato"/>
                          <a:cs typeface="Lato"/>
                          <a:sym typeface="Lato"/>
                        </a:rPr>
                        <a:t>Seek government and specialty grocers as potential customers</a:t>
                      </a:r>
                      <a:endParaRPr sz="1600" dirty="0">
                        <a:solidFill>
                          <a:srgbClr val="FFFFFF"/>
                        </a:solidFill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5253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CA" sz="1600" dirty="0">
                          <a:solidFill>
                            <a:srgbClr val="FFFFFF"/>
                          </a:solidFill>
                          <a:latin typeface="Corbel" panose="020B0503020204020204" pitchFamily="34" charset="0"/>
                          <a:ea typeface="Lato"/>
                          <a:cs typeface="Lato"/>
                          <a:sym typeface="Lato"/>
                        </a:rPr>
                        <a:t>Launch and operate trading platform in Nunavut</a:t>
                      </a:r>
                    </a:p>
                  </a:txBody>
                  <a:tcPr marL="91425" marR="91425" marT="91425" marB="91425">
                    <a:lnL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5253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CA" sz="1600" dirty="0">
                          <a:solidFill>
                            <a:srgbClr val="FFFFFF"/>
                          </a:solidFill>
                          <a:latin typeface="Corbel" panose="020B0503020204020204" pitchFamily="34" charset="0"/>
                          <a:ea typeface="Lato"/>
                          <a:cs typeface="Lato"/>
                          <a:sym typeface="Lato"/>
                        </a:rPr>
                        <a:t>Expand operations to other remote communities</a:t>
                      </a:r>
                    </a:p>
                  </a:txBody>
                  <a:tcPr marL="91425" marR="91425" marT="91425" marB="91425">
                    <a:lnL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41508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CA" sz="1600" dirty="0">
                          <a:solidFill>
                            <a:srgbClr val="FFFFFF"/>
                          </a:solidFill>
                          <a:latin typeface="Corbel" panose="020B0503020204020204" pitchFamily="34" charset="0"/>
                          <a:ea typeface="Lato"/>
                          <a:cs typeface="Lato"/>
                          <a:sym typeface="Lato"/>
                        </a:rPr>
                        <a:t>Collect and monetize data</a:t>
                      </a:r>
                      <a:endParaRPr sz="1600" dirty="0">
                        <a:solidFill>
                          <a:srgbClr val="FFFFFF"/>
                        </a:solidFill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64150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600" dirty="0">
                          <a:solidFill>
                            <a:srgbClr val="FFFFFF"/>
                          </a:solidFill>
                          <a:latin typeface="Corbel" panose="020B0503020204020204" pitchFamily="34" charset="0"/>
                          <a:ea typeface="Lato"/>
                          <a:cs typeface="Lato"/>
                          <a:sym typeface="Lato"/>
                        </a:rPr>
                        <a:t>Leverage data to improve marketing and operations</a:t>
                      </a:r>
                    </a:p>
                  </a:txBody>
                  <a:tcPr marL="91425" marR="91425" marT="91425" marB="91425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>
                        <a:latin typeface="Corbel" panose="020B0503020204020204" pitchFamily="34" charset="0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8909587"/>
                  </a:ext>
                </a:extLst>
              </a:tr>
            </a:tbl>
          </a:graphicData>
        </a:graphic>
      </p:graphicFrame>
      <p:sp>
        <p:nvSpPr>
          <p:cNvPr id="4" name="Arrow: Right 3">
            <a:extLst>
              <a:ext uri="{FF2B5EF4-FFF2-40B4-BE49-F238E27FC236}">
                <a16:creationId xmlns:a16="http://schemas.microsoft.com/office/drawing/2014/main" id="{C01AAD81-B53F-4387-9949-577C9191C948}"/>
              </a:ext>
            </a:extLst>
          </p:cNvPr>
          <p:cNvSpPr/>
          <p:nvPr/>
        </p:nvSpPr>
        <p:spPr>
          <a:xfrm>
            <a:off x="3704283" y="2431738"/>
            <a:ext cx="436503" cy="324787"/>
          </a:xfrm>
          <a:prstGeom prst="rightArrow">
            <a:avLst/>
          </a:prstGeom>
          <a:solidFill>
            <a:srgbClr val="0043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5" name="Arrow: Right 4">
            <a:extLst>
              <a:ext uri="{FF2B5EF4-FFF2-40B4-BE49-F238E27FC236}">
                <a16:creationId xmlns:a16="http://schemas.microsoft.com/office/drawing/2014/main" id="{8192E9C3-16CB-452E-AA82-D333906D1616}"/>
              </a:ext>
            </a:extLst>
          </p:cNvPr>
          <p:cNvSpPr/>
          <p:nvPr/>
        </p:nvSpPr>
        <p:spPr>
          <a:xfrm>
            <a:off x="3704283" y="3071119"/>
            <a:ext cx="1566217" cy="324787"/>
          </a:xfrm>
          <a:prstGeom prst="rightArrow">
            <a:avLst/>
          </a:prstGeom>
          <a:solidFill>
            <a:srgbClr val="0043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6" name="Arrow: Right 5">
            <a:extLst>
              <a:ext uri="{FF2B5EF4-FFF2-40B4-BE49-F238E27FC236}">
                <a16:creationId xmlns:a16="http://schemas.microsoft.com/office/drawing/2014/main" id="{D676E52B-20B7-498A-8469-1E17064D7BDC}"/>
              </a:ext>
            </a:extLst>
          </p:cNvPr>
          <p:cNvSpPr/>
          <p:nvPr/>
        </p:nvSpPr>
        <p:spPr>
          <a:xfrm>
            <a:off x="5374426" y="5639381"/>
            <a:ext cx="6306297" cy="321039"/>
          </a:xfrm>
          <a:prstGeom prst="rightArrow">
            <a:avLst/>
          </a:prstGeom>
          <a:solidFill>
            <a:srgbClr val="0043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id="{6AFC6BCB-7B1F-42E4-8679-0A22D126DFA3}"/>
              </a:ext>
            </a:extLst>
          </p:cNvPr>
          <p:cNvSpPr/>
          <p:nvPr/>
        </p:nvSpPr>
        <p:spPr>
          <a:xfrm>
            <a:off x="4529454" y="5041919"/>
            <a:ext cx="7151270" cy="344507"/>
          </a:xfrm>
          <a:prstGeom prst="rightArrow">
            <a:avLst/>
          </a:prstGeom>
          <a:solidFill>
            <a:srgbClr val="0043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EE905C4A-8658-48EB-9FD4-47339E731435}"/>
              </a:ext>
            </a:extLst>
          </p:cNvPr>
          <p:cNvSpPr/>
          <p:nvPr/>
        </p:nvSpPr>
        <p:spPr>
          <a:xfrm>
            <a:off x="5270500" y="4416479"/>
            <a:ext cx="6410223" cy="321039"/>
          </a:xfrm>
          <a:prstGeom prst="rightArrow">
            <a:avLst/>
          </a:prstGeom>
          <a:solidFill>
            <a:srgbClr val="0043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030723C1-9B36-44DC-AC45-49D59B7A1DCC}"/>
              </a:ext>
            </a:extLst>
          </p:cNvPr>
          <p:cNvSpPr/>
          <p:nvPr/>
        </p:nvSpPr>
        <p:spPr>
          <a:xfrm>
            <a:off x="4140786" y="3780991"/>
            <a:ext cx="1233640" cy="324787"/>
          </a:xfrm>
          <a:prstGeom prst="rightArrow">
            <a:avLst/>
          </a:prstGeom>
          <a:solidFill>
            <a:srgbClr val="0043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2729872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9CC7E1-EB48-4965-823C-DE11C5C9CE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Appendix VII: Data Monetization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00E5413-AA14-43D9-B79A-CDF2579E9B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512" y="1347546"/>
            <a:ext cx="6237288" cy="5122639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F31627DE-B3D8-4C0F-B251-023D3CD6F6A9}"/>
              </a:ext>
            </a:extLst>
          </p:cNvPr>
          <p:cNvSpPr/>
          <p:nvPr/>
        </p:nvSpPr>
        <p:spPr>
          <a:xfrm>
            <a:off x="417512" y="1404081"/>
            <a:ext cx="1944688" cy="4964354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A78DF6B-77DD-42AD-8BA1-EA3D36F8F908}"/>
              </a:ext>
            </a:extLst>
          </p:cNvPr>
          <p:cNvSpPr/>
          <p:nvPr/>
        </p:nvSpPr>
        <p:spPr>
          <a:xfrm>
            <a:off x="150812" y="6470185"/>
            <a:ext cx="716597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sz="1100" dirty="0"/>
              <a:t>Source: https://www.oliverwyman.com/content/dam/oliver-wyman/v2/publications/2016/dec/MONETIZING-DATA.pdf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B96E9AD-EDB5-412E-A197-01F7150A5741}"/>
              </a:ext>
            </a:extLst>
          </p:cNvPr>
          <p:cNvSpPr txBox="1"/>
          <p:nvPr/>
        </p:nvSpPr>
        <p:spPr>
          <a:xfrm>
            <a:off x="7645399" y="2165171"/>
            <a:ext cx="4018148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dirty="0"/>
              <a:t>Government Organiz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A" dirty="0"/>
              <a:t>Nutrition North Canad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A" dirty="0"/>
              <a:t>Health Canad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A" dirty="0"/>
              <a:t>Indigenous Services Canada</a:t>
            </a:r>
          </a:p>
          <a:p>
            <a:endParaRPr lang="en-CA" dirty="0"/>
          </a:p>
          <a:p>
            <a:r>
              <a:rPr lang="en-CA" dirty="0"/>
              <a:t>Specialty Grocers and Delivery Servi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A" dirty="0"/>
              <a:t>Northern Shopp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A" dirty="0"/>
              <a:t>Arctic Fres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A" dirty="0"/>
              <a:t>Amaz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CF07A8D-046E-4BC1-BEBF-BE716FD7B419}"/>
              </a:ext>
            </a:extLst>
          </p:cNvPr>
          <p:cNvSpPr txBox="1"/>
          <p:nvPr/>
        </p:nvSpPr>
        <p:spPr>
          <a:xfrm>
            <a:off x="7645399" y="1580835"/>
            <a:ext cx="401814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2000" dirty="0"/>
              <a:t>Target Customer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B695DCC-46A3-4103-91B4-A1AE32AAE139}"/>
              </a:ext>
            </a:extLst>
          </p:cNvPr>
          <p:cNvCxnSpPr>
            <a:cxnSpLocks/>
          </p:cNvCxnSpPr>
          <p:nvPr/>
        </p:nvCxnSpPr>
        <p:spPr>
          <a:xfrm>
            <a:off x="7653152" y="2082800"/>
            <a:ext cx="4018148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99867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Image result for food prices in iqaluit">
            <a:extLst>
              <a:ext uri="{FF2B5EF4-FFF2-40B4-BE49-F238E27FC236}">
                <a16:creationId xmlns:a16="http://schemas.microsoft.com/office/drawing/2014/main" id="{27F43048-03C4-4F5F-BE9D-13981841D00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372" b="1776"/>
          <a:stretch/>
        </p:blipFill>
        <p:spPr bwMode="auto">
          <a:xfrm>
            <a:off x="6096000" y="2749725"/>
            <a:ext cx="6096000" cy="41082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4CF5B21-9550-453E-A03B-5B66DCB9C7E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1571" b="6807"/>
          <a:stretch/>
        </p:blipFill>
        <p:spPr>
          <a:xfrm>
            <a:off x="6096000" y="-5"/>
            <a:ext cx="6096003" cy="346509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42F1FFE-6228-4C83-8257-58073498575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3111"/>
          <a:stretch/>
        </p:blipFill>
        <p:spPr>
          <a:xfrm>
            <a:off x="0" y="0"/>
            <a:ext cx="6096538" cy="400651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6685138-B6FA-41CB-8565-F3CDAC2602C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28434"/>
          <a:stretch/>
        </p:blipFill>
        <p:spPr>
          <a:xfrm>
            <a:off x="0" y="3465091"/>
            <a:ext cx="6096000" cy="3392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245178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A1D0A7-2E83-43BC-B340-0AF3F5750E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Appendix VIII: User Profi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4DCB9A3-D7A2-4CDC-9EFE-3C7D198854CA}"/>
              </a:ext>
            </a:extLst>
          </p:cNvPr>
          <p:cNvSpPr/>
          <p:nvPr/>
        </p:nvSpPr>
        <p:spPr>
          <a:xfrm>
            <a:off x="4321737" y="2627738"/>
            <a:ext cx="7672892" cy="52518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  <a:latin typeface="Malgun Gothic Semilight" charset="-127"/>
                <a:ea typeface="Malgun Gothic Semilight" charset="-127"/>
                <a:cs typeface="Malgun Gothic Semilight" charset="-127"/>
              </a:rPr>
              <a:t>Major Opportunities and Pain Points</a:t>
            </a:r>
            <a:endParaRPr lang="en-CA" dirty="0">
              <a:solidFill>
                <a:schemeClr val="bg1"/>
              </a:solidFill>
              <a:latin typeface="Malgun Gothic Semilight" charset="-127"/>
              <a:ea typeface="Malgun Gothic Semilight" charset="-127"/>
              <a:cs typeface="Malgun Gothic Semilight" charset="-127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E3F01187-A36B-4D5D-B80F-76BE10EAFE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8754050"/>
              </p:ext>
            </p:extLst>
          </p:nvPr>
        </p:nvGraphicFramePr>
        <p:xfrm>
          <a:off x="4321737" y="1631965"/>
          <a:ext cx="7672892" cy="883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008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7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45829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02059">
                <a:tc>
                  <a:txBody>
                    <a:bodyPr/>
                    <a:lstStyle/>
                    <a:p>
                      <a:pPr algn="ctr"/>
                      <a:r>
                        <a:rPr lang="en-CA" sz="2800" dirty="0">
                          <a:solidFill>
                            <a:schemeClr val="tx1"/>
                          </a:solidFill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$20 000</a:t>
                      </a: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tx1"/>
                          </a:solidFill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45</a:t>
                      </a:r>
                      <a:endParaRPr lang="en-CA" sz="2800" dirty="0">
                        <a:solidFill>
                          <a:schemeClr val="tx1"/>
                        </a:solidFill>
                        <a:latin typeface="Century Gothic" charset="0"/>
                        <a:ea typeface="Century Gothic" charset="0"/>
                        <a:cs typeface="Century Gothic" charset="0"/>
                      </a:endParaRPr>
                    </a:p>
                  </a:txBody>
                  <a:tcPr anchor="b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Store manager</a:t>
                      </a:r>
                      <a:endParaRPr lang="en-CA" sz="1600" dirty="0">
                        <a:solidFill>
                          <a:schemeClr val="tx1"/>
                        </a:solidFill>
                        <a:latin typeface="Century Gothic" charset="0"/>
                        <a:ea typeface="Century Gothic" charset="0"/>
                        <a:cs typeface="Century Gothic" charset="0"/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4416">
                <a:tc>
                  <a:txBody>
                    <a:bodyPr/>
                    <a:lstStyle/>
                    <a:p>
                      <a:pPr algn="ctr"/>
                      <a:r>
                        <a:rPr lang="en-US" sz="1600" b="0" i="1" dirty="0">
                          <a:solidFill>
                            <a:schemeClr val="tx1"/>
                          </a:solidFill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Monthly Income</a:t>
                      </a:r>
                      <a:endParaRPr lang="en-CA" sz="1600" b="0" i="1" dirty="0">
                        <a:solidFill>
                          <a:schemeClr val="tx1"/>
                        </a:solidFill>
                        <a:latin typeface="Century Gothic" charset="0"/>
                        <a:ea typeface="Century Gothic" charset="0"/>
                        <a:cs typeface="Century Gothic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i="1" dirty="0">
                          <a:solidFill>
                            <a:schemeClr val="tx1"/>
                          </a:solidFill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Age</a:t>
                      </a:r>
                      <a:endParaRPr lang="en-CA" sz="1800" b="0" i="1" dirty="0">
                        <a:solidFill>
                          <a:schemeClr val="tx1"/>
                        </a:solidFill>
                        <a:latin typeface="Century Gothic" charset="0"/>
                        <a:ea typeface="Century Gothic" charset="0"/>
                        <a:cs typeface="Century Gothic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i="1" dirty="0">
                          <a:solidFill>
                            <a:schemeClr val="tx1"/>
                          </a:solidFill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Occupation</a:t>
                      </a:r>
                      <a:endParaRPr lang="en-CA" sz="1800" b="0" i="1" dirty="0">
                        <a:solidFill>
                          <a:schemeClr val="tx1"/>
                        </a:solidFill>
                        <a:latin typeface="Century Gothic" charset="0"/>
                        <a:ea typeface="Century Gothic" charset="0"/>
                        <a:cs typeface="Century Gothic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A7AC9452-DE42-48A4-8A5D-63FEE68A8D01}"/>
              </a:ext>
            </a:extLst>
          </p:cNvPr>
          <p:cNvSpPr/>
          <p:nvPr/>
        </p:nvSpPr>
        <p:spPr>
          <a:xfrm>
            <a:off x="5513722" y="4071440"/>
            <a:ext cx="6480907" cy="575280"/>
          </a:xfrm>
          <a:prstGeom prst="rect">
            <a:avLst/>
          </a:prstGeom>
          <a:noFill/>
          <a:ln>
            <a:solidFill>
              <a:srgbClr val="3F221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CA" dirty="0">
                <a:solidFill>
                  <a:schemeClr val="tx1"/>
                </a:solidFill>
                <a:latin typeface="Malgun Gothic Semilight" charset="-127"/>
                <a:ea typeface="Malgun Gothic Semilight" charset="-127"/>
                <a:cs typeface="Malgun Gothic Semilight" charset="-127"/>
              </a:rPr>
              <a:t>Limited data access through phone, often unreliab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70CDF81-0B87-42A9-B10A-BFDED7151BFF}"/>
              </a:ext>
            </a:extLst>
          </p:cNvPr>
          <p:cNvSpPr/>
          <p:nvPr/>
        </p:nvSpPr>
        <p:spPr>
          <a:xfrm>
            <a:off x="5513722" y="3324543"/>
            <a:ext cx="6480907" cy="575280"/>
          </a:xfrm>
          <a:prstGeom prst="rect">
            <a:avLst/>
          </a:prstGeom>
          <a:noFill/>
          <a:ln>
            <a:solidFill>
              <a:srgbClr val="3F221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CA" dirty="0">
                <a:solidFill>
                  <a:schemeClr val="tx1"/>
                </a:solidFill>
                <a:latin typeface="Malgun Gothic Semilight" charset="-127"/>
                <a:ea typeface="Malgun Gothic Semilight" charset="-127"/>
                <a:cs typeface="Malgun Gothic Semilight" charset="-127"/>
              </a:rPr>
              <a:t>Store has stable </a:t>
            </a:r>
            <a:r>
              <a:rPr lang="en-CA" dirty="0" err="1">
                <a:solidFill>
                  <a:schemeClr val="tx1"/>
                </a:solidFill>
                <a:latin typeface="Malgun Gothic Semilight" charset="-127"/>
                <a:ea typeface="Malgun Gothic Semilight" charset="-127"/>
                <a:cs typeface="Malgun Gothic Semilight" charset="-127"/>
              </a:rPr>
              <a:t>wifi</a:t>
            </a:r>
            <a:r>
              <a:rPr lang="en-CA" dirty="0">
                <a:solidFill>
                  <a:schemeClr val="tx1"/>
                </a:solidFill>
                <a:latin typeface="Malgun Gothic Semilight" charset="-127"/>
                <a:ea typeface="Malgun Gothic Semilight" charset="-127"/>
                <a:cs typeface="Malgun Gothic Semilight" charset="-127"/>
              </a:rPr>
              <a:t> network, home is limited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AFE7C14-B95E-404B-87FA-47EB68B3B252}"/>
              </a:ext>
            </a:extLst>
          </p:cNvPr>
          <p:cNvSpPr/>
          <p:nvPr/>
        </p:nvSpPr>
        <p:spPr>
          <a:xfrm>
            <a:off x="5513722" y="4783741"/>
            <a:ext cx="6480907" cy="575280"/>
          </a:xfrm>
          <a:prstGeom prst="rect">
            <a:avLst/>
          </a:prstGeom>
          <a:noFill/>
          <a:ln>
            <a:solidFill>
              <a:srgbClr val="3F221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Malgun Gothic Semilight" charset="-127"/>
                <a:ea typeface="Malgun Gothic Semilight" charset="-127"/>
                <a:cs typeface="Malgun Gothic Semilight" charset="-127"/>
              </a:rPr>
              <a:t>Some hunting knowledge but finds little time to do so</a:t>
            </a:r>
            <a:endParaRPr lang="en-CA" dirty="0">
              <a:solidFill>
                <a:schemeClr val="tx1"/>
              </a:solidFill>
              <a:latin typeface="Malgun Gothic Semilight" charset="-127"/>
              <a:ea typeface="Malgun Gothic Semilight" charset="-127"/>
              <a:cs typeface="Malgun Gothic Semilight" charset="-127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00CD66C-4385-4195-8FDB-945F6F15D7B7}"/>
              </a:ext>
            </a:extLst>
          </p:cNvPr>
          <p:cNvSpPr/>
          <p:nvPr/>
        </p:nvSpPr>
        <p:spPr>
          <a:xfrm>
            <a:off x="197369" y="5744563"/>
            <a:ext cx="11797259" cy="74499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Malgun Gothic Semilight" charset="-127"/>
                <a:ea typeface="Malgun Gothic Semilight" charset="-127"/>
                <a:cs typeface="Malgun Gothic Semilight" charset="-127"/>
              </a:rPr>
              <a:t>Any food insecurity solution must accommodate for his special circumstances</a:t>
            </a:r>
            <a:endParaRPr lang="en-CA" sz="2400" dirty="0">
              <a:solidFill>
                <a:schemeClr val="bg1"/>
              </a:solidFill>
              <a:latin typeface="Malgun Gothic Semilight" charset="-127"/>
              <a:ea typeface="Malgun Gothic Semilight" charset="-127"/>
              <a:cs typeface="Malgun Gothic Semilight" charset="-127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3F4D59F-AC6E-4B99-A0CE-D55F7F1CB92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878" t="-14288" b="1"/>
          <a:stretch/>
        </p:blipFill>
        <p:spPr>
          <a:xfrm>
            <a:off x="4507322" y="3231365"/>
            <a:ext cx="667429" cy="719387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29E8BE9-3E0E-4B5E-AB58-164E14B9A296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6585" y="4071440"/>
            <a:ext cx="536347" cy="54601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53D9DB5-2239-430D-AC55-2043FC61103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01" t="2540" r="1558"/>
          <a:stretch/>
        </p:blipFill>
        <p:spPr>
          <a:xfrm>
            <a:off x="4537869" y="4783741"/>
            <a:ext cx="676145" cy="57179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743BB6A6-BDA8-4A97-ADF4-BB8205CA9140}"/>
              </a:ext>
            </a:extLst>
          </p:cNvPr>
          <p:cNvSpPr txBox="1"/>
          <p:nvPr/>
        </p:nvSpPr>
        <p:spPr>
          <a:xfrm>
            <a:off x="1224793" y="4071440"/>
            <a:ext cx="231536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dirty="0"/>
              <a:t>Father of two children; would love to spend as much time with his family as possible </a:t>
            </a:r>
          </a:p>
          <a:p>
            <a:endParaRPr lang="en-CA" dirty="0"/>
          </a:p>
        </p:txBody>
      </p:sp>
      <p:pic>
        <p:nvPicPr>
          <p:cNvPr id="2052" name="Picture 4" descr="Image result for inuit father">
            <a:extLst>
              <a:ext uri="{FF2B5EF4-FFF2-40B4-BE49-F238E27FC236}">
                <a16:creationId xmlns:a16="http://schemas.microsoft.com/office/drawing/2014/main" id="{6B2BA87B-DE75-4129-9EA0-EFC83614D1D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796" r="25304" b="46099"/>
          <a:stretch/>
        </p:blipFill>
        <p:spPr bwMode="auto">
          <a:xfrm>
            <a:off x="904368" y="1506727"/>
            <a:ext cx="2486532" cy="2486532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8659355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BE2543-C3BA-4F97-AB49-687CED6C66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Appendix IX: Household Food Insecurity in Canada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93126E4-A1DC-4A81-9232-7EEE4C44850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20542" y="1353261"/>
            <a:ext cx="5991100" cy="449580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323EA88-B2BA-4981-9DBA-D5BB2E1E09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0011" y="1353261"/>
            <a:ext cx="3074867" cy="50219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DD38EB6-906D-4E4E-BB9C-652849DD35E4}"/>
              </a:ext>
            </a:extLst>
          </p:cNvPr>
          <p:cNvSpPr txBox="1"/>
          <p:nvPr/>
        </p:nvSpPr>
        <p:spPr>
          <a:xfrm>
            <a:off x="4320542" y="5809383"/>
            <a:ext cx="64131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dirty="0"/>
              <a:t>Nunavut and the other territories have the highest rates of food insecurity throughout Canada. </a:t>
            </a:r>
          </a:p>
        </p:txBody>
      </p:sp>
    </p:spTree>
    <p:extLst>
      <p:ext uri="{BB962C8B-B14F-4D97-AF65-F5344CB8AC3E}">
        <p14:creationId xmlns:p14="http://schemas.microsoft.com/office/powerpoint/2010/main" val="129790191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78F1AB-9A68-4F1D-9A3B-D8DC5E2A13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Appendix X: Barriers to Acquiring Local Food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3BF3EAB-C440-4C44-A13A-679CBE738C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90553" y="1412421"/>
            <a:ext cx="5734050" cy="49911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2C0CABD-8639-45A1-A12C-250111015D54}"/>
              </a:ext>
            </a:extLst>
          </p:cNvPr>
          <p:cNvSpPr txBox="1"/>
          <p:nvPr/>
        </p:nvSpPr>
        <p:spPr>
          <a:xfrm>
            <a:off x="517030" y="1684881"/>
            <a:ext cx="5039709" cy="1323439"/>
          </a:xfrm>
          <a:prstGeom prst="rect">
            <a:avLst/>
          </a:prstGeom>
          <a:noFill/>
          <a:ln w="28575">
            <a:solidFill>
              <a:schemeClr val="accent4"/>
            </a:solidFill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en-CA" sz="2000" b="1" dirty="0">
                <a:cs typeface="Arial" panose="020B0604020202020204" pitchFamily="34" charset="0"/>
              </a:rPr>
              <a:t>Weak distribution capabiliti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CA" sz="2000" dirty="0">
                <a:cs typeface="Arial" panose="020B0604020202020204" pitchFamily="34" charset="0"/>
              </a:rPr>
              <a:t>Few major distribution centr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CA" sz="2000" dirty="0">
                <a:cs typeface="Arial" panose="020B0604020202020204" pitchFamily="34" charset="0"/>
              </a:rPr>
              <a:t>Nutrition North Subsidies are often underutilized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629560A-C625-443F-80B9-8D066D82C07A}"/>
              </a:ext>
            </a:extLst>
          </p:cNvPr>
          <p:cNvSpPr txBox="1"/>
          <p:nvPr/>
        </p:nvSpPr>
        <p:spPr>
          <a:xfrm>
            <a:off x="517029" y="3272812"/>
            <a:ext cx="5039709" cy="1015663"/>
          </a:xfrm>
          <a:prstGeom prst="rect">
            <a:avLst/>
          </a:prstGeom>
          <a:noFill/>
          <a:ln w="28575">
            <a:solidFill>
              <a:schemeClr val="accent4"/>
            </a:solidFill>
          </a:ln>
        </p:spPr>
        <p:txBody>
          <a:bodyPr wrap="square" rtlCol="0" anchor="ctr">
            <a:spAutoFit/>
          </a:bodyPr>
          <a:lstStyle>
            <a:defPPr>
              <a:defRPr lang="en-US"/>
            </a:defPPr>
            <a:lvl1pPr algn="ctr">
              <a:defRPr sz="2000" b="1">
                <a:cs typeface="Arial" panose="020B0604020202020204" pitchFamily="34" charset="0"/>
              </a:defRPr>
            </a:lvl1pPr>
          </a:lstStyle>
          <a:p>
            <a:r>
              <a:rPr lang="en-CA" dirty="0"/>
              <a:t>Limited community connectivity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CA" b="0" dirty="0"/>
              <a:t>Hunters, processors, and local retail outlets are often disconnected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6445DE2-F37D-4825-B415-DBD3F4B851C2}"/>
              </a:ext>
            </a:extLst>
          </p:cNvPr>
          <p:cNvSpPr txBox="1"/>
          <p:nvPr/>
        </p:nvSpPr>
        <p:spPr>
          <a:xfrm>
            <a:off x="517028" y="4665288"/>
            <a:ext cx="5039709" cy="1015663"/>
          </a:xfrm>
          <a:prstGeom prst="rect">
            <a:avLst/>
          </a:prstGeom>
          <a:noFill/>
          <a:ln w="28575">
            <a:solidFill>
              <a:schemeClr val="accent4"/>
            </a:solidFill>
          </a:ln>
        </p:spPr>
        <p:txBody>
          <a:bodyPr wrap="square" rtlCol="0" anchor="ctr">
            <a:spAutoFit/>
          </a:bodyPr>
          <a:lstStyle>
            <a:defPPr>
              <a:defRPr lang="en-US"/>
            </a:defPPr>
            <a:lvl1pPr algn="ctr">
              <a:defRPr sz="2000" b="1">
                <a:cs typeface="Arial" panose="020B0604020202020204" pitchFamily="34" charset="0"/>
              </a:defRPr>
            </a:lvl1pPr>
          </a:lstStyle>
          <a:p>
            <a:r>
              <a:rPr lang="en-CA" dirty="0"/>
              <a:t>Diminishing food education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CA" b="0" dirty="0"/>
              <a:t>Younger generations are less inclined to hunt than parent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81834D0-023B-423C-8C71-3A19E0414D06}"/>
              </a:ext>
            </a:extLst>
          </p:cNvPr>
          <p:cNvSpPr/>
          <p:nvPr/>
        </p:nvSpPr>
        <p:spPr>
          <a:xfrm>
            <a:off x="220392" y="6434576"/>
            <a:ext cx="651803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sz="1200" dirty="0"/>
              <a:t>Source: http://www.actioncanada.ca/wp-content/uploads/2014/04/TF-3-Hunger-in-Nunavut-EN.pdf</a:t>
            </a:r>
          </a:p>
        </p:txBody>
      </p:sp>
    </p:spTree>
    <p:extLst>
      <p:ext uri="{BB962C8B-B14F-4D97-AF65-F5344CB8AC3E}">
        <p14:creationId xmlns:p14="http://schemas.microsoft.com/office/powerpoint/2010/main" val="201019466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82C366-5E09-4359-AC0D-142F6049C3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Appendix XI: Nutrition North Canada - Food Subsidy </a:t>
            </a:r>
          </a:p>
        </p:txBody>
      </p:sp>
      <p:pic>
        <p:nvPicPr>
          <p:cNvPr id="2050" name="Picture 2" descr="Nutrition North Canada Receipt">
            <a:extLst>
              <a:ext uri="{FF2B5EF4-FFF2-40B4-BE49-F238E27FC236}">
                <a16:creationId xmlns:a16="http://schemas.microsoft.com/office/drawing/2014/main" id="{7D1B2DF4-334D-4712-A786-E861EB6474D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9947"/>
          <a:stretch/>
        </p:blipFill>
        <p:spPr bwMode="auto">
          <a:xfrm>
            <a:off x="583295" y="1557731"/>
            <a:ext cx="2650444" cy="50068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2" descr="https://www.nutritionnorthcanada.gc.ca/DAM/DAM-NUTRIN-NUTRIN/STAGING/images-images/report_subsidy_1stquarter_2017_1530718460136_eng.jpg">
            <a:extLst>
              <a:ext uri="{FF2B5EF4-FFF2-40B4-BE49-F238E27FC236}">
                <a16:creationId xmlns:a16="http://schemas.microsoft.com/office/drawing/2014/main" id="{3A783DA6-62A5-47E9-BE30-B75E34BF2B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7883" y="1430031"/>
            <a:ext cx="7191375" cy="4400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73813BB9-A509-4461-915E-1DA794A662F4}"/>
              </a:ext>
            </a:extLst>
          </p:cNvPr>
          <p:cNvSpPr txBox="1"/>
          <p:nvPr/>
        </p:nvSpPr>
        <p:spPr>
          <a:xfrm>
            <a:off x="3870376" y="5958281"/>
            <a:ext cx="64131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dirty="0"/>
              <a:t>Subsidies are provided to grocers largely intended for perishable products. 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946E2BC-D199-4D98-8C97-FA29989AD805}"/>
              </a:ext>
            </a:extLst>
          </p:cNvPr>
          <p:cNvSpPr/>
          <p:nvPr/>
        </p:nvSpPr>
        <p:spPr>
          <a:xfrm>
            <a:off x="3657883" y="5696671"/>
            <a:ext cx="6096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CA" sz="1100" dirty="0"/>
              <a:t>https://www.nutritionnorthcanada.gc.ca/eng/1415538638170/1415538670874</a:t>
            </a:r>
          </a:p>
        </p:txBody>
      </p:sp>
    </p:spTree>
    <p:extLst>
      <p:ext uri="{BB962C8B-B14F-4D97-AF65-F5344CB8AC3E}">
        <p14:creationId xmlns:p14="http://schemas.microsoft.com/office/powerpoint/2010/main" val="11889725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3F4C1F4-3AB4-4B2D-9542-E1FF76C18F5B}"/>
              </a:ext>
            </a:extLst>
          </p:cNvPr>
          <p:cNvSpPr/>
          <p:nvPr/>
        </p:nvSpPr>
        <p:spPr>
          <a:xfrm>
            <a:off x="-3649" y="0"/>
            <a:ext cx="12195649" cy="6858000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pic>
        <p:nvPicPr>
          <p:cNvPr id="2050" name="Picture 2" descr="Image result for groceries image">
            <a:extLst>
              <a:ext uri="{FF2B5EF4-FFF2-40B4-BE49-F238E27FC236}">
                <a16:creationId xmlns:a16="http://schemas.microsoft.com/office/drawing/2014/main" id="{60ABAEFC-F40E-42CA-9CEF-9BCA3A5B403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alphaModFix amt="76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25000"/>
                    </a14:imgEffect>
                    <a14:imgEffect>
                      <a14:brightnessContrast brigh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1433" b="-1"/>
          <a:stretch/>
        </p:blipFill>
        <p:spPr bwMode="auto">
          <a:xfrm>
            <a:off x="-3649" y="0"/>
            <a:ext cx="1219564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EA564225-7867-474B-8CEA-9E723D492B59}"/>
              </a:ext>
            </a:extLst>
          </p:cNvPr>
          <p:cNvSpPr/>
          <p:nvPr/>
        </p:nvSpPr>
        <p:spPr>
          <a:xfrm>
            <a:off x="1008737" y="2059364"/>
            <a:ext cx="10170875" cy="3139321"/>
          </a:xfrm>
          <a:prstGeom prst="rect">
            <a:avLst/>
          </a:prstGeom>
          <a:solidFill>
            <a:srgbClr val="0D0D0D">
              <a:alpha val="47843"/>
            </a:srgbClr>
          </a:solidFill>
        </p:spPr>
        <p:txBody>
          <a:bodyPr wrap="square">
            <a:spAutoFit/>
          </a:bodyPr>
          <a:lstStyle/>
          <a:p>
            <a:r>
              <a:rPr lang="en-CA" sz="44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Cost of a week’s groceries for a family of 4</a:t>
            </a:r>
          </a:p>
          <a:p>
            <a:r>
              <a:rPr lang="en-CA" sz="4800" dirty="0">
                <a:solidFill>
                  <a:schemeClr val="accent3">
                    <a:lumMod val="40000"/>
                    <a:lumOff val="60000"/>
                  </a:schemeClr>
                </a:solidFill>
                <a:latin typeface="+mj-lt"/>
                <a:cs typeface="Arial" panose="020B0604020202020204" pitchFamily="34" charset="0"/>
              </a:rPr>
              <a:t>in Ontario: ~$125</a:t>
            </a:r>
          </a:p>
          <a:p>
            <a:endParaRPr lang="en-CA" sz="4800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  <a:p>
            <a:r>
              <a:rPr lang="en-CA" sz="4800" dirty="0">
                <a:solidFill>
                  <a:srgbClr val="FFFF00"/>
                </a:solidFill>
                <a:latin typeface="+mj-lt"/>
                <a:cs typeface="Arial" panose="020B0604020202020204" pitchFamily="34" charset="0"/>
              </a:rPr>
              <a:t>In Nunavut? </a:t>
            </a:r>
            <a:r>
              <a:rPr lang="en-CA" sz="5400" b="1" i="1" dirty="0">
                <a:solidFill>
                  <a:srgbClr val="FF1919"/>
                </a:solidFill>
                <a:latin typeface="+mj-lt"/>
                <a:cs typeface="Arial" panose="020B0604020202020204" pitchFamily="34" charset="0"/>
              </a:rPr>
              <a:t>~$500.</a:t>
            </a:r>
            <a:endParaRPr lang="en-CA" sz="4000" b="1" i="1" dirty="0">
              <a:solidFill>
                <a:srgbClr val="FF1919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1BFC04B-6B35-430D-A625-C4C83F4198EA}"/>
              </a:ext>
            </a:extLst>
          </p:cNvPr>
          <p:cNvSpPr/>
          <p:nvPr/>
        </p:nvSpPr>
        <p:spPr>
          <a:xfrm>
            <a:off x="2" y="6427113"/>
            <a:ext cx="12191998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sz="1100" dirty="0">
                <a:solidFill>
                  <a:schemeClr val="tx1">
                    <a:lumMod val="65000"/>
                    <a:lumOff val="35000"/>
                  </a:schemeClr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cbc.ca/news/canada/north/20-flour-to-13-juice-a-look-at-the-high-cost-of-food-in-iqaluit-1.3782084</a:t>
            </a:r>
            <a:endParaRPr lang="en-CA" sz="1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en-CA" sz="1100" dirty="0">
                <a:solidFill>
                  <a:schemeClr val="tx1">
                    <a:lumMod val="65000"/>
                    <a:lumOff val="35000"/>
                  </a:schemeClr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chatelaine.com/living/when-500-isnt-enough-to-buy-groceries-for-a-week/</a:t>
            </a:r>
            <a:endParaRPr lang="en-CA" sz="1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93049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07700B-7B00-43FB-A4B7-0413739C85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CA" dirty="0">
                <a:latin typeface="+mn-lt"/>
              </a:rPr>
              <a:t>	Food insecurity is a severe issue in Canada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4950654A-6AC1-457F-8AF7-1CFBE6C83F7F}"/>
              </a:ext>
            </a:extLst>
          </p:cNvPr>
          <p:cNvGrpSpPr/>
          <p:nvPr/>
        </p:nvGrpSpPr>
        <p:grpSpPr>
          <a:xfrm>
            <a:off x="6349242" y="3129994"/>
            <a:ext cx="5144046" cy="969496"/>
            <a:chOff x="6180426" y="2280151"/>
            <a:chExt cx="5144046" cy="969496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A7AFFA7B-A939-4EB5-A35D-64E3B176C5EB}"/>
                </a:ext>
              </a:extLst>
            </p:cNvPr>
            <p:cNvSpPr txBox="1"/>
            <p:nvPr/>
          </p:nvSpPr>
          <p:spPr>
            <a:xfrm>
              <a:off x="6180426" y="2280151"/>
              <a:ext cx="2363371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CA" sz="5400" b="1" dirty="0">
                  <a:cs typeface="Times New Roman" panose="02020603050405020304" pitchFamily="18" charset="0"/>
                </a:rPr>
                <a:t>70%</a:t>
              </a:r>
              <a:endParaRPr lang="en-CA" sz="1050" b="1" dirty="0">
                <a:cs typeface="Times New Roman" panose="02020603050405020304" pitchFamily="18" charset="0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66DC79DC-BDE7-4115-A9CC-04BC7808DA1A}"/>
                </a:ext>
              </a:extLst>
            </p:cNvPr>
            <p:cNvSpPr/>
            <p:nvPr/>
          </p:nvSpPr>
          <p:spPr>
            <a:xfrm>
              <a:off x="7726204" y="2326317"/>
              <a:ext cx="3598268" cy="9233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CA" dirty="0">
                  <a:latin typeface="+mj-lt"/>
                  <a:cs typeface="Arial" panose="020B0604020202020204" pitchFamily="34" charset="0"/>
                </a:rPr>
                <a:t>of all households in Nunavut have trouble accessing enough affordable, nutritious food</a:t>
              </a: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2DF0F2A3-2BF5-49B8-9956-9D844A6A1EFF}"/>
              </a:ext>
            </a:extLst>
          </p:cNvPr>
          <p:cNvGrpSpPr/>
          <p:nvPr/>
        </p:nvGrpSpPr>
        <p:grpSpPr>
          <a:xfrm>
            <a:off x="6349242" y="4457174"/>
            <a:ext cx="5144046" cy="969496"/>
            <a:chOff x="6180426" y="4414970"/>
            <a:chExt cx="5073706" cy="969496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BCFAF931-4CDA-425B-AA9F-5CDE127B933A}"/>
                </a:ext>
              </a:extLst>
            </p:cNvPr>
            <p:cNvSpPr txBox="1"/>
            <p:nvPr/>
          </p:nvSpPr>
          <p:spPr>
            <a:xfrm>
              <a:off x="6180426" y="4414970"/>
              <a:ext cx="2363371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CA" sz="5400" b="1" dirty="0">
                  <a:cs typeface="Times New Roman" panose="02020603050405020304" pitchFamily="18" charset="0"/>
                </a:rPr>
                <a:t>90%</a:t>
              </a:r>
              <a:endParaRPr lang="en-CA" sz="1050" b="1" dirty="0">
                <a:cs typeface="Times New Roman" panose="02020603050405020304" pitchFamily="18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74C985C8-8F96-4323-AF2B-AF249CDDD22C}"/>
                </a:ext>
              </a:extLst>
            </p:cNvPr>
            <p:cNvSpPr/>
            <p:nvPr/>
          </p:nvSpPr>
          <p:spPr>
            <a:xfrm>
              <a:off x="7726204" y="4461136"/>
              <a:ext cx="3527928" cy="9233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CA" dirty="0">
                  <a:latin typeface="+mj-lt"/>
                  <a:cs typeface="Arial" panose="020B0604020202020204" pitchFamily="34" charset="0"/>
                </a:rPr>
                <a:t>of Aboriginal respondents in the Northwest Territories felt they did not have enough money for food</a:t>
              </a:r>
            </a:p>
          </p:txBody>
        </p:sp>
      </p:grpSp>
      <p:sp>
        <p:nvSpPr>
          <p:cNvPr id="10" name="Freeform 4019">
            <a:extLst>
              <a:ext uri="{FF2B5EF4-FFF2-40B4-BE49-F238E27FC236}">
                <a16:creationId xmlns:a16="http://schemas.microsoft.com/office/drawing/2014/main" id="{4CB25CD0-7258-4136-90CE-D19395EE6114}"/>
              </a:ext>
            </a:extLst>
          </p:cNvPr>
          <p:cNvSpPr>
            <a:spLocks noEditPoints="1"/>
          </p:cNvSpPr>
          <p:nvPr/>
        </p:nvSpPr>
        <p:spPr bwMode="auto">
          <a:xfrm>
            <a:off x="5402510" y="4952661"/>
            <a:ext cx="368500" cy="607245"/>
          </a:xfrm>
          <a:custGeom>
            <a:avLst/>
            <a:gdLst/>
            <a:ahLst/>
            <a:cxnLst>
              <a:cxn ang="0">
                <a:pos x="133" y="26"/>
              </a:cxn>
              <a:cxn ang="0">
                <a:pos x="122" y="29"/>
              </a:cxn>
              <a:cxn ang="0">
                <a:pos x="117" y="28"/>
              </a:cxn>
              <a:cxn ang="0">
                <a:pos x="112" y="31"/>
              </a:cxn>
              <a:cxn ang="0">
                <a:pos x="109" y="20"/>
              </a:cxn>
              <a:cxn ang="0">
                <a:pos x="102" y="7"/>
              </a:cxn>
              <a:cxn ang="0">
                <a:pos x="94" y="22"/>
              </a:cxn>
              <a:cxn ang="0">
                <a:pos x="95" y="31"/>
              </a:cxn>
              <a:cxn ang="0">
                <a:pos x="90" y="48"/>
              </a:cxn>
              <a:cxn ang="0">
                <a:pos x="107" y="69"/>
              </a:cxn>
              <a:cxn ang="0">
                <a:pos x="129" y="50"/>
              </a:cxn>
              <a:cxn ang="0">
                <a:pos x="137" y="34"/>
              </a:cxn>
              <a:cxn ang="0">
                <a:pos x="133" y="26"/>
              </a:cxn>
              <a:cxn ang="0">
                <a:pos x="113" y="78"/>
              </a:cxn>
              <a:cxn ang="0">
                <a:pos x="106" y="76"/>
              </a:cxn>
              <a:cxn ang="0">
                <a:pos x="91" y="76"/>
              </a:cxn>
              <a:cxn ang="0">
                <a:pos x="79" y="81"/>
              </a:cxn>
              <a:cxn ang="0">
                <a:pos x="64" y="88"/>
              </a:cxn>
              <a:cxn ang="0">
                <a:pos x="54" y="93"/>
              </a:cxn>
              <a:cxn ang="0">
                <a:pos x="43" y="93"/>
              </a:cxn>
              <a:cxn ang="0">
                <a:pos x="31" y="95"/>
              </a:cxn>
              <a:cxn ang="0">
                <a:pos x="23" y="101"/>
              </a:cxn>
              <a:cxn ang="0">
                <a:pos x="19" y="109"/>
              </a:cxn>
              <a:cxn ang="0">
                <a:pos x="21" y="109"/>
              </a:cxn>
              <a:cxn ang="0">
                <a:pos x="17" y="133"/>
              </a:cxn>
              <a:cxn ang="0">
                <a:pos x="25" y="127"/>
              </a:cxn>
              <a:cxn ang="0">
                <a:pos x="34" y="122"/>
              </a:cxn>
              <a:cxn ang="0">
                <a:pos x="53" y="115"/>
              </a:cxn>
              <a:cxn ang="0">
                <a:pos x="55" y="118"/>
              </a:cxn>
              <a:cxn ang="0">
                <a:pos x="44" y="125"/>
              </a:cxn>
              <a:cxn ang="0">
                <a:pos x="37" y="137"/>
              </a:cxn>
              <a:cxn ang="0">
                <a:pos x="30" y="130"/>
              </a:cxn>
              <a:cxn ang="0">
                <a:pos x="18" y="150"/>
              </a:cxn>
              <a:cxn ang="0">
                <a:pos x="6" y="169"/>
              </a:cxn>
              <a:cxn ang="0">
                <a:pos x="1" y="180"/>
              </a:cxn>
              <a:cxn ang="0">
                <a:pos x="3" y="188"/>
              </a:cxn>
              <a:cxn ang="0">
                <a:pos x="5" y="202"/>
              </a:cxn>
              <a:cxn ang="0">
                <a:pos x="23" y="212"/>
              </a:cxn>
              <a:cxn ang="0">
                <a:pos x="39" y="212"/>
              </a:cxn>
              <a:cxn ang="0">
                <a:pos x="44" y="196"/>
              </a:cxn>
              <a:cxn ang="0">
                <a:pos x="51" y="176"/>
              </a:cxn>
              <a:cxn ang="0">
                <a:pos x="51" y="155"/>
              </a:cxn>
              <a:cxn ang="0">
                <a:pos x="63" y="151"/>
              </a:cxn>
              <a:cxn ang="0">
                <a:pos x="69" y="139"/>
              </a:cxn>
              <a:cxn ang="0">
                <a:pos x="79" y="130"/>
              </a:cxn>
              <a:cxn ang="0">
                <a:pos x="93" y="115"/>
              </a:cxn>
              <a:cxn ang="0">
                <a:pos x="106" y="96"/>
              </a:cxn>
              <a:cxn ang="0">
                <a:pos x="114" y="88"/>
              </a:cxn>
              <a:cxn ang="0">
                <a:pos x="121" y="80"/>
              </a:cxn>
              <a:cxn ang="0">
                <a:pos x="113" y="78"/>
              </a:cxn>
            </a:cxnLst>
            <a:rect l="0" t="0" r="r" b="b"/>
            <a:pathLst>
              <a:path w="137" h="221">
                <a:moveTo>
                  <a:pt x="133" y="26"/>
                </a:moveTo>
                <a:cubicBezTo>
                  <a:pt x="129" y="23"/>
                  <a:pt x="126" y="28"/>
                  <a:pt x="122" y="29"/>
                </a:cubicBezTo>
                <a:cubicBezTo>
                  <a:pt x="121" y="29"/>
                  <a:pt x="119" y="28"/>
                  <a:pt x="117" y="28"/>
                </a:cubicBezTo>
                <a:cubicBezTo>
                  <a:pt x="116" y="28"/>
                  <a:pt x="113" y="31"/>
                  <a:pt x="112" y="31"/>
                </a:cubicBezTo>
                <a:cubicBezTo>
                  <a:pt x="106" y="30"/>
                  <a:pt x="109" y="24"/>
                  <a:pt x="109" y="20"/>
                </a:cubicBezTo>
                <a:cubicBezTo>
                  <a:pt x="109" y="15"/>
                  <a:pt x="106" y="11"/>
                  <a:pt x="102" y="7"/>
                </a:cubicBezTo>
                <a:cubicBezTo>
                  <a:pt x="93" y="0"/>
                  <a:pt x="94" y="18"/>
                  <a:pt x="94" y="22"/>
                </a:cubicBezTo>
                <a:cubicBezTo>
                  <a:pt x="94" y="25"/>
                  <a:pt x="95" y="28"/>
                  <a:pt x="95" y="31"/>
                </a:cubicBezTo>
                <a:cubicBezTo>
                  <a:pt x="95" y="37"/>
                  <a:pt x="94" y="43"/>
                  <a:pt x="90" y="48"/>
                </a:cubicBezTo>
                <a:cubicBezTo>
                  <a:pt x="92" y="56"/>
                  <a:pt x="97" y="71"/>
                  <a:pt x="107" y="69"/>
                </a:cubicBezTo>
                <a:cubicBezTo>
                  <a:pt x="115" y="67"/>
                  <a:pt x="126" y="57"/>
                  <a:pt x="129" y="50"/>
                </a:cubicBezTo>
                <a:cubicBezTo>
                  <a:pt x="132" y="45"/>
                  <a:pt x="133" y="39"/>
                  <a:pt x="137" y="34"/>
                </a:cubicBezTo>
                <a:cubicBezTo>
                  <a:pt x="134" y="32"/>
                  <a:pt x="132" y="29"/>
                  <a:pt x="133" y="26"/>
                </a:cubicBezTo>
                <a:close/>
                <a:moveTo>
                  <a:pt x="113" y="78"/>
                </a:moveTo>
                <a:cubicBezTo>
                  <a:pt x="108" y="79"/>
                  <a:pt x="110" y="79"/>
                  <a:pt x="106" y="76"/>
                </a:cubicBezTo>
                <a:cubicBezTo>
                  <a:pt x="99" y="72"/>
                  <a:pt x="98" y="75"/>
                  <a:pt x="91" y="76"/>
                </a:cubicBezTo>
                <a:cubicBezTo>
                  <a:pt x="83" y="77"/>
                  <a:pt x="85" y="72"/>
                  <a:pt x="79" y="81"/>
                </a:cubicBezTo>
                <a:cubicBezTo>
                  <a:pt x="75" y="87"/>
                  <a:pt x="72" y="87"/>
                  <a:pt x="64" y="88"/>
                </a:cubicBezTo>
                <a:cubicBezTo>
                  <a:pt x="60" y="88"/>
                  <a:pt x="58" y="92"/>
                  <a:pt x="54" y="93"/>
                </a:cubicBezTo>
                <a:cubicBezTo>
                  <a:pt x="50" y="95"/>
                  <a:pt x="47" y="93"/>
                  <a:pt x="43" y="93"/>
                </a:cubicBezTo>
                <a:cubicBezTo>
                  <a:pt x="44" y="93"/>
                  <a:pt x="33" y="96"/>
                  <a:pt x="31" y="95"/>
                </a:cubicBezTo>
                <a:cubicBezTo>
                  <a:pt x="28" y="97"/>
                  <a:pt x="25" y="98"/>
                  <a:pt x="23" y="101"/>
                </a:cubicBezTo>
                <a:cubicBezTo>
                  <a:pt x="21" y="103"/>
                  <a:pt x="20" y="106"/>
                  <a:pt x="19" y="109"/>
                </a:cubicBezTo>
                <a:cubicBezTo>
                  <a:pt x="20" y="109"/>
                  <a:pt x="21" y="109"/>
                  <a:pt x="21" y="109"/>
                </a:cubicBezTo>
                <a:cubicBezTo>
                  <a:pt x="27" y="113"/>
                  <a:pt x="17" y="128"/>
                  <a:pt x="17" y="133"/>
                </a:cubicBezTo>
                <a:cubicBezTo>
                  <a:pt x="21" y="134"/>
                  <a:pt x="22" y="129"/>
                  <a:pt x="25" y="127"/>
                </a:cubicBezTo>
                <a:cubicBezTo>
                  <a:pt x="27" y="124"/>
                  <a:pt x="31" y="123"/>
                  <a:pt x="34" y="122"/>
                </a:cubicBezTo>
                <a:cubicBezTo>
                  <a:pt x="40" y="119"/>
                  <a:pt x="46" y="117"/>
                  <a:pt x="53" y="115"/>
                </a:cubicBezTo>
                <a:cubicBezTo>
                  <a:pt x="54" y="116"/>
                  <a:pt x="54" y="117"/>
                  <a:pt x="55" y="118"/>
                </a:cubicBezTo>
                <a:cubicBezTo>
                  <a:pt x="53" y="121"/>
                  <a:pt x="47" y="123"/>
                  <a:pt x="44" y="125"/>
                </a:cubicBezTo>
                <a:cubicBezTo>
                  <a:pt x="40" y="129"/>
                  <a:pt x="39" y="133"/>
                  <a:pt x="37" y="137"/>
                </a:cubicBezTo>
                <a:cubicBezTo>
                  <a:pt x="34" y="134"/>
                  <a:pt x="34" y="129"/>
                  <a:pt x="30" y="130"/>
                </a:cubicBezTo>
                <a:cubicBezTo>
                  <a:pt x="26" y="131"/>
                  <a:pt x="20" y="146"/>
                  <a:pt x="18" y="150"/>
                </a:cubicBezTo>
                <a:cubicBezTo>
                  <a:pt x="14" y="156"/>
                  <a:pt x="12" y="164"/>
                  <a:pt x="6" y="169"/>
                </a:cubicBezTo>
                <a:cubicBezTo>
                  <a:pt x="7" y="174"/>
                  <a:pt x="2" y="176"/>
                  <a:pt x="1" y="180"/>
                </a:cubicBezTo>
                <a:cubicBezTo>
                  <a:pt x="0" y="184"/>
                  <a:pt x="3" y="184"/>
                  <a:pt x="3" y="188"/>
                </a:cubicBezTo>
                <a:cubicBezTo>
                  <a:pt x="3" y="192"/>
                  <a:pt x="3" y="197"/>
                  <a:pt x="5" y="202"/>
                </a:cubicBezTo>
                <a:cubicBezTo>
                  <a:pt x="10" y="212"/>
                  <a:pt x="15" y="209"/>
                  <a:pt x="23" y="212"/>
                </a:cubicBezTo>
                <a:cubicBezTo>
                  <a:pt x="30" y="215"/>
                  <a:pt x="32" y="221"/>
                  <a:pt x="39" y="212"/>
                </a:cubicBezTo>
                <a:cubicBezTo>
                  <a:pt x="36" y="206"/>
                  <a:pt x="41" y="201"/>
                  <a:pt x="44" y="196"/>
                </a:cubicBezTo>
                <a:cubicBezTo>
                  <a:pt x="47" y="190"/>
                  <a:pt x="50" y="183"/>
                  <a:pt x="51" y="176"/>
                </a:cubicBezTo>
                <a:cubicBezTo>
                  <a:pt x="52" y="170"/>
                  <a:pt x="49" y="160"/>
                  <a:pt x="51" y="155"/>
                </a:cubicBezTo>
                <a:cubicBezTo>
                  <a:pt x="54" y="149"/>
                  <a:pt x="59" y="152"/>
                  <a:pt x="63" y="151"/>
                </a:cubicBezTo>
                <a:cubicBezTo>
                  <a:pt x="70" y="149"/>
                  <a:pt x="66" y="144"/>
                  <a:pt x="69" y="139"/>
                </a:cubicBezTo>
                <a:cubicBezTo>
                  <a:pt x="71" y="135"/>
                  <a:pt x="76" y="133"/>
                  <a:pt x="79" y="130"/>
                </a:cubicBezTo>
                <a:cubicBezTo>
                  <a:pt x="85" y="126"/>
                  <a:pt x="89" y="120"/>
                  <a:pt x="93" y="115"/>
                </a:cubicBezTo>
                <a:cubicBezTo>
                  <a:pt x="99" y="109"/>
                  <a:pt x="101" y="102"/>
                  <a:pt x="106" y="96"/>
                </a:cubicBezTo>
                <a:cubicBezTo>
                  <a:pt x="108" y="93"/>
                  <a:pt x="111" y="91"/>
                  <a:pt x="114" y="88"/>
                </a:cubicBezTo>
                <a:cubicBezTo>
                  <a:pt x="116" y="85"/>
                  <a:pt x="117" y="83"/>
                  <a:pt x="121" y="80"/>
                </a:cubicBezTo>
                <a:cubicBezTo>
                  <a:pt x="119" y="76"/>
                  <a:pt x="116" y="78"/>
                  <a:pt x="113" y="78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 w="6350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1" name="Freeform 4020">
            <a:extLst>
              <a:ext uri="{FF2B5EF4-FFF2-40B4-BE49-F238E27FC236}">
                <a16:creationId xmlns:a16="http://schemas.microsoft.com/office/drawing/2014/main" id="{025F80D2-18AA-49ED-BBB0-7AC80766D6AC}"/>
              </a:ext>
            </a:extLst>
          </p:cNvPr>
          <p:cNvSpPr>
            <a:spLocks noEditPoints="1"/>
          </p:cNvSpPr>
          <p:nvPr/>
        </p:nvSpPr>
        <p:spPr bwMode="auto">
          <a:xfrm>
            <a:off x="4668551" y="3773628"/>
            <a:ext cx="1468262" cy="1101549"/>
          </a:xfrm>
          <a:custGeom>
            <a:avLst/>
            <a:gdLst/>
            <a:ahLst/>
            <a:cxnLst>
              <a:cxn ang="0">
                <a:pos x="516" y="298"/>
              </a:cxn>
              <a:cxn ang="0">
                <a:pos x="505" y="304"/>
              </a:cxn>
              <a:cxn ang="0">
                <a:pos x="505" y="325"/>
              </a:cxn>
              <a:cxn ang="0">
                <a:pos x="526" y="332"/>
              </a:cxn>
              <a:cxn ang="0">
                <a:pos x="489" y="289"/>
              </a:cxn>
              <a:cxn ang="0">
                <a:pos x="475" y="274"/>
              </a:cxn>
              <a:cxn ang="0">
                <a:pos x="458" y="246"/>
              </a:cxn>
              <a:cxn ang="0">
                <a:pos x="419" y="271"/>
              </a:cxn>
              <a:cxn ang="0">
                <a:pos x="386" y="275"/>
              </a:cxn>
              <a:cxn ang="0">
                <a:pos x="371" y="237"/>
              </a:cxn>
              <a:cxn ang="0">
                <a:pos x="364" y="203"/>
              </a:cxn>
              <a:cxn ang="0">
                <a:pos x="352" y="363"/>
              </a:cxn>
              <a:cxn ang="0">
                <a:pos x="370" y="391"/>
              </a:cxn>
              <a:cxn ang="0">
                <a:pos x="428" y="360"/>
              </a:cxn>
              <a:cxn ang="0">
                <a:pos x="481" y="330"/>
              </a:cxn>
              <a:cxn ang="0">
                <a:pos x="491" y="308"/>
              </a:cxn>
              <a:cxn ang="0">
                <a:pos x="489" y="289"/>
              </a:cxn>
              <a:cxn ang="0">
                <a:pos x="288" y="144"/>
              </a:cxn>
              <a:cxn ang="0">
                <a:pos x="280" y="159"/>
              </a:cxn>
              <a:cxn ang="0">
                <a:pos x="250" y="163"/>
              </a:cxn>
              <a:cxn ang="0">
                <a:pos x="226" y="202"/>
              </a:cxn>
              <a:cxn ang="0">
                <a:pos x="233" y="177"/>
              </a:cxn>
              <a:cxn ang="0">
                <a:pos x="254" y="139"/>
              </a:cxn>
              <a:cxn ang="0">
                <a:pos x="201" y="131"/>
              </a:cxn>
              <a:cxn ang="0">
                <a:pos x="178" y="123"/>
              </a:cxn>
              <a:cxn ang="0">
                <a:pos x="128" y="93"/>
              </a:cxn>
              <a:cxn ang="0">
                <a:pos x="70" y="60"/>
              </a:cxn>
              <a:cxn ang="0">
                <a:pos x="26" y="17"/>
              </a:cxn>
              <a:cxn ang="0">
                <a:pos x="0" y="3"/>
              </a:cxn>
              <a:cxn ang="0">
                <a:pos x="16" y="25"/>
              </a:cxn>
              <a:cxn ang="0">
                <a:pos x="25" y="54"/>
              </a:cxn>
              <a:cxn ang="0">
                <a:pos x="74" y="91"/>
              </a:cxn>
              <a:cxn ang="0">
                <a:pos x="104" y="157"/>
              </a:cxn>
              <a:cxn ang="0">
                <a:pos x="97" y="211"/>
              </a:cxn>
              <a:cxn ang="0">
                <a:pos x="86" y="215"/>
              </a:cxn>
              <a:cxn ang="0">
                <a:pos x="58" y="223"/>
              </a:cxn>
              <a:cxn ang="0">
                <a:pos x="50" y="235"/>
              </a:cxn>
              <a:cxn ang="0">
                <a:pos x="51" y="254"/>
              </a:cxn>
              <a:cxn ang="0">
                <a:pos x="88" y="286"/>
              </a:cxn>
              <a:cxn ang="0">
                <a:pos x="98" y="293"/>
              </a:cxn>
              <a:cxn ang="0">
                <a:pos x="168" y="317"/>
              </a:cxn>
              <a:cxn ang="0">
                <a:pos x="166" y="283"/>
              </a:cxn>
              <a:cxn ang="0">
                <a:pos x="335" y="223"/>
              </a:cxn>
              <a:cxn ang="0">
                <a:pos x="305" y="145"/>
              </a:cxn>
            </a:cxnLst>
            <a:rect l="0" t="0" r="r" b="b"/>
            <a:pathLst>
              <a:path w="547" h="401">
                <a:moveTo>
                  <a:pt x="532" y="284"/>
                </a:moveTo>
                <a:cubicBezTo>
                  <a:pt x="523" y="283"/>
                  <a:pt x="524" y="295"/>
                  <a:pt x="516" y="298"/>
                </a:cubicBezTo>
                <a:cubicBezTo>
                  <a:pt x="523" y="295"/>
                  <a:pt x="510" y="276"/>
                  <a:pt x="504" y="275"/>
                </a:cubicBezTo>
                <a:cubicBezTo>
                  <a:pt x="500" y="274"/>
                  <a:pt x="504" y="303"/>
                  <a:pt x="505" y="304"/>
                </a:cubicBezTo>
                <a:cubicBezTo>
                  <a:pt x="504" y="301"/>
                  <a:pt x="495" y="304"/>
                  <a:pt x="496" y="310"/>
                </a:cubicBezTo>
                <a:cubicBezTo>
                  <a:pt x="496" y="313"/>
                  <a:pt x="504" y="321"/>
                  <a:pt x="505" y="325"/>
                </a:cubicBezTo>
                <a:cubicBezTo>
                  <a:pt x="507" y="329"/>
                  <a:pt x="506" y="342"/>
                  <a:pt x="514" y="337"/>
                </a:cubicBezTo>
                <a:cubicBezTo>
                  <a:pt x="514" y="336"/>
                  <a:pt x="525" y="310"/>
                  <a:pt x="526" y="332"/>
                </a:cubicBezTo>
                <a:cubicBezTo>
                  <a:pt x="547" y="340"/>
                  <a:pt x="533" y="293"/>
                  <a:pt x="532" y="284"/>
                </a:cubicBezTo>
                <a:close/>
                <a:moveTo>
                  <a:pt x="489" y="289"/>
                </a:moveTo>
                <a:cubicBezTo>
                  <a:pt x="489" y="280"/>
                  <a:pt x="501" y="266"/>
                  <a:pt x="495" y="259"/>
                </a:cubicBezTo>
                <a:cubicBezTo>
                  <a:pt x="488" y="263"/>
                  <a:pt x="484" y="270"/>
                  <a:pt x="475" y="274"/>
                </a:cubicBezTo>
                <a:cubicBezTo>
                  <a:pt x="474" y="269"/>
                  <a:pt x="472" y="269"/>
                  <a:pt x="469" y="266"/>
                </a:cubicBezTo>
                <a:cubicBezTo>
                  <a:pt x="470" y="256"/>
                  <a:pt x="467" y="248"/>
                  <a:pt x="458" y="246"/>
                </a:cubicBezTo>
                <a:cubicBezTo>
                  <a:pt x="447" y="244"/>
                  <a:pt x="444" y="253"/>
                  <a:pt x="438" y="259"/>
                </a:cubicBezTo>
                <a:cubicBezTo>
                  <a:pt x="432" y="266"/>
                  <a:pt x="426" y="268"/>
                  <a:pt x="419" y="271"/>
                </a:cubicBezTo>
                <a:cubicBezTo>
                  <a:pt x="402" y="279"/>
                  <a:pt x="413" y="267"/>
                  <a:pt x="402" y="262"/>
                </a:cubicBezTo>
                <a:cubicBezTo>
                  <a:pt x="393" y="258"/>
                  <a:pt x="392" y="271"/>
                  <a:pt x="386" y="275"/>
                </a:cubicBezTo>
                <a:cubicBezTo>
                  <a:pt x="379" y="278"/>
                  <a:pt x="382" y="279"/>
                  <a:pt x="378" y="272"/>
                </a:cubicBezTo>
                <a:cubicBezTo>
                  <a:pt x="372" y="264"/>
                  <a:pt x="372" y="247"/>
                  <a:pt x="371" y="237"/>
                </a:cubicBezTo>
                <a:cubicBezTo>
                  <a:pt x="370" y="230"/>
                  <a:pt x="376" y="199"/>
                  <a:pt x="363" y="205"/>
                </a:cubicBezTo>
                <a:cubicBezTo>
                  <a:pt x="364" y="203"/>
                  <a:pt x="364" y="203"/>
                  <a:pt x="364" y="203"/>
                </a:cubicBezTo>
                <a:cubicBezTo>
                  <a:pt x="334" y="236"/>
                  <a:pt x="358" y="297"/>
                  <a:pt x="365" y="335"/>
                </a:cubicBezTo>
                <a:cubicBezTo>
                  <a:pt x="368" y="353"/>
                  <a:pt x="354" y="349"/>
                  <a:pt x="352" y="363"/>
                </a:cubicBezTo>
                <a:cubicBezTo>
                  <a:pt x="358" y="361"/>
                  <a:pt x="363" y="356"/>
                  <a:pt x="371" y="357"/>
                </a:cubicBezTo>
                <a:cubicBezTo>
                  <a:pt x="371" y="366"/>
                  <a:pt x="364" y="385"/>
                  <a:pt x="370" y="391"/>
                </a:cubicBezTo>
                <a:cubicBezTo>
                  <a:pt x="381" y="401"/>
                  <a:pt x="392" y="384"/>
                  <a:pt x="398" y="378"/>
                </a:cubicBezTo>
                <a:cubicBezTo>
                  <a:pt x="407" y="367"/>
                  <a:pt x="417" y="368"/>
                  <a:pt x="428" y="360"/>
                </a:cubicBezTo>
                <a:cubicBezTo>
                  <a:pt x="438" y="353"/>
                  <a:pt x="440" y="348"/>
                  <a:pt x="452" y="343"/>
                </a:cubicBezTo>
                <a:cubicBezTo>
                  <a:pt x="462" y="339"/>
                  <a:pt x="469" y="330"/>
                  <a:pt x="481" y="330"/>
                </a:cubicBezTo>
                <a:cubicBezTo>
                  <a:pt x="474" y="337"/>
                  <a:pt x="468" y="368"/>
                  <a:pt x="482" y="359"/>
                </a:cubicBezTo>
                <a:cubicBezTo>
                  <a:pt x="491" y="352"/>
                  <a:pt x="489" y="318"/>
                  <a:pt x="491" y="308"/>
                </a:cubicBezTo>
                <a:cubicBezTo>
                  <a:pt x="492" y="303"/>
                  <a:pt x="496" y="302"/>
                  <a:pt x="495" y="297"/>
                </a:cubicBezTo>
                <a:cubicBezTo>
                  <a:pt x="495" y="294"/>
                  <a:pt x="489" y="289"/>
                  <a:pt x="489" y="289"/>
                </a:cubicBezTo>
                <a:close/>
                <a:moveTo>
                  <a:pt x="305" y="145"/>
                </a:moveTo>
                <a:cubicBezTo>
                  <a:pt x="301" y="144"/>
                  <a:pt x="292" y="142"/>
                  <a:pt x="288" y="144"/>
                </a:cubicBezTo>
                <a:cubicBezTo>
                  <a:pt x="284" y="148"/>
                  <a:pt x="287" y="155"/>
                  <a:pt x="285" y="157"/>
                </a:cubicBezTo>
                <a:cubicBezTo>
                  <a:pt x="284" y="157"/>
                  <a:pt x="281" y="159"/>
                  <a:pt x="280" y="159"/>
                </a:cubicBezTo>
                <a:cubicBezTo>
                  <a:pt x="277" y="152"/>
                  <a:pt x="272" y="142"/>
                  <a:pt x="263" y="142"/>
                </a:cubicBezTo>
                <a:cubicBezTo>
                  <a:pt x="251" y="143"/>
                  <a:pt x="254" y="155"/>
                  <a:pt x="250" y="163"/>
                </a:cubicBezTo>
                <a:cubicBezTo>
                  <a:pt x="248" y="170"/>
                  <a:pt x="245" y="179"/>
                  <a:pt x="241" y="186"/>
                </a:cubicBezTo>
                <a:cubicBezTo>
                  <a:pt x="238" y="193"/>
                  <a:pt x="230" y="196"/>
                  <a:pt x="226" y="202"/>
                </a:cubicBezTo>
                <a:cubicBezTo>
                  <a:pt x="225" y="202"/>
                  <a:pt x="224" y="202"/>
                  <a:pt x="224" y="202"/>
                </a:cubicBezTo>
                <a:cubicBezTo>
                  <a:pt x="224" y="191"/>
                  <a:pt x="228" y="186"/>
                  <a:pt x="233" y="177"/>
                </a:cubicBezTo>
                <a:cubicBezTo>
                  <a:pt x="237" y="171"/>
                  <a:pt x="238" y="165"/>
                  <a:pt x="241" y="158"/>
                </a:cubicBezTo>
                <a:cubicBezTo>
                  <a:pt x="243" y="151"/>
                  <a:pt x="251" y="146"/>
                  <a:pt x="254" y="139"/>
                </a:cubicBezTo>
                <a:cubicBezTo>
                  <a:pt x="260" y="121"/>
                  <a:pt x="234" y="120"/>
                  <a:pt x="229" y="136"/>
                </a:cubicBezTo>
                <a:cubicBezTo>
                  <a:pt x="222" y="130"/>
                  <a:pt x="209" y="130"/>
                  <a:pt x="201" y="131"/>
                </a:cubicBezTo>
                <a:cubicBezTo>
                  <a:pt x="197" y="132"/>
                  <a:pt x="179" y="144"/>
                  <a:pt x="179" y="135"/>
                </a:cubicBezTo>
                <a:cubicBezTo>
                  <a:pt x="179" y="131"/>
                  <a:pt x="178" y="127"/>
                  <a:pt x="178" y="123"/>
                </a:cubicBezTo>
                <a:cubicBezTo>
                  <a:pt x="156" y="122"/>
                  <a:pt x="139" y="122"/>
                  <a:pt x="125" y="102"/>
                </a:cubicBezTo>
                <a:cubicBezTo>
                  <a:pt x="127" y="99"/>
                  <a:pt x="126" y="96"/>
                  <a:pt x="128" y="93"/>
                </a:cubicBezTo>
                <a:cubicBezTo>
                  <a:pt x="123" y="85"/>
                  <a:pt x="110" y="83"/>
                  <a:pt x="103" y="78"/>
                </a:cubicBezTo>
                <a:cubicBezTo>
                  <a:pt x="126" y="67"/>
                  <a:pt x="67" y="52"/>
                  <a:pt x="70" y="60"/>
                </a:cubicBezTo>
                <a:cubicBezTo>
                  <a:pt x="67" y="51"/>
                  <a:pt x="55" y="37"/>
                  <a:pt x="44" y="38"/>
                </a:cubicBezTo>
                <a:cubicBezTo>
                  <a:pt x="42" y="38"/>
                  <a:pt x="29" y="19"/>
                  <a:pt x="26" y="17"/>
                </a:cubicBezTo>
                <a:cubicBezTo>
                  <a:pt x="19" y="11"/>
                  <a:pt x="7" y="7"/>
                  <a:pt x="1" y="0"/>
                </a:cubicBezTo>
                <a:cubicBezTo>
                  <a:pt x="1" y="1"/>
                  <a:pt x="1" y="2"/>
                  <a:pt x="0" y="3"/>
                </a:cubicBezTo>
                <a:cubicBezTo>
                  <a:pt x="0" y="3"/>
                  <a:pt x="0" y="3"/>
                  <a:pt x="0" y="3"/>
                </a:cubicBezTo>
                <a:cubicBezTo>
                  <a:pt x="3" y="13"/>
                  <a:pt x="6" y="22"/>
                  <a:pt x="16" y="25"/>
                </a:cubicBezTo>
                <a:cubicBezTo>
                  <a:pt x="15" y="28"/>
                  <a:pt x="16" y="33"/>
                  <a:pt x="15" y="37"/>
                </a:cubicBezTo>
                <a:cubicBezTo>
                  <a:pt x="29" y="35"/>
                  <a:pt x="32" y="44"/>
                  <a:pt x="25" y="54"/>
                </a:cubicBezTo>
                <a:cubicBezTo>
                  <a:pt x="32" y="58"/>
                  <a:pt x="37" y="60"/>
                  <a:pt x="45" y="57"/>
                </a:cubicBezTo>
                <a:cubicBezTo>
                  <a:pt x="61" y="75"/>
                  <a:pt x="32" y="93"/>
                  <a:pt x="74" y="91"/>
                </a:cubicBezTo>
                <a:cubicBezTo>
                  <a:pt x="75" y="93"/>
                  <a:pt x="76" y="97"/>
                  <a:pt x="76" y="99"/>
                </a:cubicBezTo>
                <a:cubicBezTo>
                  <a:pt x="80" y="130"/>
                  <a:pt x="85" y="138"/>
                  <a:pt x="104" y="157"/>
                </a:cubicBezTo>
                <a:cubicBezTo>
                  <a:pt x="111" y="164"/>
                  <a:pt x="121" y="175"/>
                  <a:pt x="120" y="187"/>
                </a:cubicBezTo>
                <a:cubicBezTo>
                  <a:pt x="119" y="206"/>
                  <a:pt x="112" y="200"/>
                  <a:pt x="97" y="211"/>
                </a:cubicBezTo>
                <a:cubicBezTo>
                  <a:pt x="95" y="209"/>
                  <a:pt x="96" y="207"/>
                  <a:pt x="94" y="205"/>
                </a:cubicBezTo>
                <a:cubicBezTo>
                  <a:pt x="92" y="208"/>
                  <a:pt x="88" y="211"/>
                  <a:pt x="86" y="215"/>
                </a:cubicBezTo>
                <a:cubicBezTo>
                  <a:pt x="74" y="212"/>
                  <a:pt x="63" y="208"/>
                  <a:pt x="49" y="209"/>
                </a:cubicBezTo>
                <a:cubicBezTo>
                  <a:pt x="52" y="212"/>
                  <a:pt x="56" y="220"/>
                  <a:pt x="58" y="223"/>
                </a:cubicBezTo>
                <a:cubicBezTo>
                  <a:pt x="52" y="223"/>
                  <a:pt x="46" y="226"/>
                  <a:pt x="39" y="227"/>
                </a:cubicBezTo>
                <a:cubicBezTo>
                  <a:pt x="44" y="229"/>
                  <a:pt x="46" y="233"/>
                  <a:pt x="50" y="235"/>
                </a:cubicBezTo>
                <a:cubicBezTo>
                  <a:pt x="47" y="239"/>
                  <a:pt x="47" y="246"/>
                  <a:pt x="44" y="249"/>
                </a:cubicBezTo>
                <a:cubicBezTo>
                  <a:pt x="47" y="252"/>
                  <a:pt x="47" y="253"/>
                  <a:pt x="51" y="254"/>
                </a:cubicBezTo>
                <a:cubicBezTo>
                  <a:pt x="50" y="258"/>
                  <a:pt x="51" y="263"/>
                  <a:pt x="51" y="267"/>
                </a:cubicBezTo>
                <a:cubicBezTo>
                  <a:pt x="64" y="275"/>
                  <a:pt x="83" y="269"/>
                  <a:pt x="88" y="286"/>
                </a:cubicBezTo>
                <a:cubicBezTo>
                  <a:pt x="79" y="291"/>
                  <a:pt x="72" y="298"/>
                  <a:pt x="79" y="307"/>
                </a:cubicBezTo>
                <a:cubicBezTo>
                  <a:pt x="87" y="306"/>
                  <a:pt x="94" y="298"/>
                  <a:pt x="98" y="293"/>
                </a:cubicBezTo>
                <a:cubicBezTo>
                  <a:pt x="99" y="303"/>
                  <a:pt x="106" y="310"/>
                  <a:pt x="113" y="317"/>
                </a:cubicBezTo>
                <a:cubicBezTo>
                  <a:pt x="130" y="310"/>
                  <a:pt x="147" y="329"/>
                  <a:pt x="168" y="317"/>
                </a:cubicBezTo>
                <a:cubicBezTo>
                  <a:pt x="163" y="309"/>
                  <a:pt x="158" y="298"/>
                  <a:pt x="155" y="287"/>
                </a:cubicBezTo>
                <a:cubicBezTo>
                  <a:pt x="158" y="286"/>
                  <a:pt x="163" y="284"/>
                  <a:pt x="166" y="283"/>
                </a:cubicBezTo>
                <a:cubicBezTo>
                  <a:pt x="178" y="305"/>
                  <a:pt x="231" y="269"/>
                  <a:pt x="243" y="262"/>
                </a:cubicBezTo>
                <a:cubicBezTo>
                  <a:pt x="256" y="255"/>
                  <a:pt x="321" y="200"/>
                  <a:pt x="335" y="223"/>
                </a:cubicBezTo>
                <a:cubicBezTo>
                  <a:pt x="344" y="212"/>
                  <a:pt x="350" y="202"/>
                  <a:pt x="350" y="184"/>
                </a:cubicBezTo>
                <a:cubicBezTo>
                  <a:pt x="340" y="172"/>
                  <a:pt x="320" y="149"/>
                  <a:pt x="305" y="145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 w="6350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2" name="Freeform 4021">
            <a:extLst>
              <a:ext uri="{FF2B5EF4-FFF2-40B4-BE49-F238E27FC236}">
                <a16:creationId xmlns:a16="http://schemas.microsoft.com/office/drawing/2014/main" id="{E4C90FAA-51FC-418F-9E88-9EC6A72BF499}"/>
              </a:ext>
            </a:extLst>
          </p:cNvPr>
          <p:cNvSpPr>
            <a:spLocks/>
          </p:cNvSpPr>
          <p:nvPr/>
        </p:nvSpPr>
        <p:spPr bwMode="auto">
          <a:xfrm>
            <a:off x="5411461" y="5078094"/>
            <a:ext cx="179232" cy="89473"/>
          </a:xfrm>
          <a:custGeom>
            <a:avLst/>
            <a:gdLst/>
            <a:ahLst/>
            <a:cxnLst>
              <a:cxn ang="0">
                <a:pos x="50" y="12"/>
              </a:cxn>
              <a:cxn ang="0">
                <a:pos x="67" y="2"/>
              </a:cxn>
              <a:cxn ang="0">
                <a:pos x="62" y="12"/>
              </a:cxn>
              <a:cxn ang="0">
                <a:pos x="63" y="22"/>
              </a:cxn>
              <a:cxn ang="0">
                <a:pos x="61" y="30"/>
              </a:cxn>
              <a:cxn ang="0">
                <a:pos x="49" y="30"/>
              </a:cxn>
              <a:cxn ang="0">
                <a:pos x="44" y="26"/>
              </a:cxn>
              <a:cxn ang="0">
                <a:pos x="41" y="31"/>
              </a:cxn>
              <a:cxn ang="0">
                <a:pos x="28" y="33"/>
              </a:cxn>
              <a:cxn ang="0">
                <a:pos x="19" y="31"/>
              </a:cxn>
              <a:cxn ang="0">
                <a:pos x="14" y="32"/>
              </a:cxn>
              <a:cxn ang="0">
                <a:pos x="10" y="29"/>
              </a:cxn>
              <a:cxn ang="0">
                <a:pos x="1" y="25"/>
              </a:cxn>
              <a:cxn ang="0">
                <a:pos x="3" y="14"/>
              </a:cxn>
              <a:cxn ang="0">
                <a:pos x="10" y="20"/>
              </a:cxn>
              <a:cxn ang="0">
                <a:pos x="18" y="24"/>
              </a:cxn>
              <a:cxn ang="0">
                <a:pos x="23" y="21"/>
              </a:cxn>
              <a:cxn ang="0">
                <a:pos x="29" y="21"/>
              </a:cxn>
              <a:cxn ang="0">
                <a:pos x="40" y="16"/>
              </a:cxn>
              <a:cxn ang="0">
                <a:pos x="50" y="12"/>
              </a:cxn>
            </a:cxnLst>
            <a:rect l="0" t="0" r="r" b="b"/>
            <a:pathLst>
              <a:path w="67" h="33">
                <a:moveTo>
                  <a:pt x="50" y="12"/>
                </a:moveTo>
                <a:cubicBezTo>
                  <a:pt x="54" y="9"/>
                  <a:pt x="61" y="0"/>
                  <a:pt x="67" y="2"/>
                </a:cubicBezTo>
                <a:cubicBezTo>
                  <a:pt x="66" y="6"/>
                  <a:pt x="63" y="8"/>
                  <a:pt x="62" y="12"/>
                </a:cubicBezTo>
                <a:cubicBezTo>
                  <a:pt x="60" y="17"/>
                  <a:pt x="61" y="18"/>
                  <a:pt x="63" y="22"/>
                </a:cubicBezTo>
                <a:cubicBezTo>
                  <a:pt x="64" y="25"/>
                  <a:pt x="67" y="27"/>
                  <a:pt x="61" y="30"/>
                </a:cubicBezTo>
                <a:cubicBezTo>
                  <a:pt x="58" y="31"/>
                  <a:pt x="52" y="31"/>
                  <a:pt x="49" y="30"/>
                </a:cubicBezTo>
                <a:cubicBezTo>
                  <a:pt x="49" y="27"/>
                  <a:pt x="47" y="25"/>
                  <a:pt x="44" y="26"/>
                </a:cubicBezTo>
                <a:cubicBezTo>
                  <a:pt x="41" y="27"/>
                  <a:pt x="43" y="30"/>
                  <a:pt x="41" y="31"/>
                </a:cubicBezTo>
                <a:cubicBezTo>
                  <a:pt x="38" y="33"/>
                  <a:pt x="31" y="33"/>
                  <a:pt x="28" y="33"/>
                </a:cubicBezTo>
                <a:cubicBezTo>
                  <a:pt x="23" y="33"/>
                  <a:pt x="22" y="31"/>
                  <a:pt x="19" y="31"/>
                </a:cubicBezTo>
                <a:cubicBezTo>
                  <a:pt x="18" y="30"/>
                  <a:pt x="16" y="33"/>
                  <a:pt x="14" y="32"/>
                </a:cubicBezTo>
                <a:cubicBezTo>
                  <a:pt x="12" y="32"/>
                  <a:pt x="11" y="30"/>
                  <a:pt x="10" y="29"/>
                </a:cubicBezTo>
                <a:cubicBezTo>
                  <a:pt x="8" y="28"/>
                  <a:pt x="3" y="27"/>
                  <a:pt x="1" y="25"/>
                </a:cubicBezTo>
                <a:cubicBezTo>
                  <a:pt x="0" y="22"/>
                  <a:pt x="3" y="17"/>
                  <a:pt x="3" y="14"/>
                </a:cubicBezTo>
                <a:cubicBezTo>
                  <a:pt x="3" y="7"/>
                  <a:pt x="9" y="19"/>
                  <a:pt x="10" y="20"/>
                </a:cubicBezTo>
                <a:cubicBezTo>
                  <a:pt x="12" y="22"/>
                  <a:pt x="16" y="21"/>
                  <a:pt x="18" y="24"/>
                </a:cubicBezTo>
                <a:cubicBezTo>
                  <a:pt x="20" y="24"/>
                  <a:pt x="21" y="22"/>
                  <a:pt x="23" y="21"/>
                </a:cubicBezTo>
                <a:cubicBezTo>
                  <a:pt x="24" y="21"/>
                  <a:pt x="27" y="21"/>
                  <a:pt x="29" y="21"/>
                </a:cubicBezTo>
                <a:cubicBezTo>
                  <a:pt x="33" y="20"/>
                  <a:pt x="37" y="18"/>
                  <a:pt x="40" y="16"/>
                </a:cubicBezTo>
                <a:cubicBezTo>
                  <a:pt x="43" y="14"/>
                  <a:pt x="47" y="14"/>
                  <a:pt x="50" y="12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 w="6350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3" name="Freeform 4022">
            <a:extLst>
              <a:ext uri="{FF2B5EF4-FFF2-40B4-BE49-F238E27FC236}">
                <a16:creationId xmlns:a16="http://schemas.microsoft.com/office/drawing/2014/main" id="{AA65B726-72F8-4053-B72F-AC610E9C1217}"/>
              </a:ext>
            </a:extLst>
          </p:cNvPr>
          <p:cNvSpPr>
            <a:spLocks/>
          </p:cNvSpPr>
          <p:nvPr/>
        </p:nvSpPr>
        <p:spPr bwMode="auto">
          <a:xfrm>
            <a:off x="5045973" y="5038642"/>
            <a:ext cx="447361" cy="400430"/>
          </a:xfrm>
          <a:custGeom>
            <a:avLst/>
            <a:gdLst/>
            <a:ahLst/>
            <a:cxnLst>
              <a:cxn ang="0">
                <a:pos x="147" y="58"/>
              </a:cxn>
              <a:cxn ang="0">
                <a:pos x="159" y="62"/>
              </a:cxn>
              <a:cxn ang="0">
                <a:pos x="159" y="63"/>
              </a:cxn>
              <a:cxn ang="0">
                <a:pos x="151" y="69"/>
              </a:cxn>
              <a:cxn ang="0">
                <a:pos x="147" y="77"/>
              </a:cxn>
              <a:cxn ang="0">
                <a:pos x="143" y="85"/>
              </a:cxn>
              <a:cxn ang="0">
                <a:pos x="136" y="96"/>
              </a:cxn>
              <a:cxn ang="0">
                <a:pos x="119" y="121"/>
              </a:cxn>
              <a:cxn ang="0">
                <a:pos x="111" y="128"/>
              </a:cxn>
              <a:cxn ang="0">
                <a:pos x="104" y="135"/>
              </a:cxn>
              <a:cxn ang="0">
                <a:pos x="75" y="141"/>
              </a:cxn>
              <a:cxn ang="0">
                <a:pos x="69" y="131"/>
              </a:cxn>
              <a:cxn ang="0">
                <a:pos x="57" y="126"/>
              </a:cxn>
              <a:cxn ang="0">
                <a:pos x="49" y="108"/>
              </a:cxn>
              <a:cxn ang="0">
                <a:pos x="18" y="68"/>
              </a:cxn>
              <a:cxn ang="0">
                <a:pos x="3" y="80"/>
              </a:cxn>
              <a:cxn ang="0">
                <a:pos x="0" y="79"/>
              </a:cxn>
              <a:cxn ang="0">
                <a:pos x="4" y="68"/>
              </a:cxn>
              <a:cxn ang="0">
                <a:pos x="4" y="44"/>
              </a:cxn>
              <a:cxn ang="0">
                <a:pos x="16" y="35"/>
              </a:cxn>
              <a:cxn ang="0">
                <a:pos x="32" y="32"/>
              </a:cxn>
              <a:cxn ang="0">
                <a:pos x="43" y="22"/>
              </a:cxn>
              <a:cxn ang="0">
                <a:pos x="56" y="15"/>
              </a:cxn>
              <a:cxn ang="0">
                <a:pos x="59" y="15"/>
              </a:cxn>
              <a:cxn ang="0">
                <a:pos x="56" y="20"/>
              </a:cxn>
              <a:cxn ang="0">
                <a:pos x="64" y="16"/>
              </a:cxn>
              <a:cxn ang="0">
                <a:pos x="64" y="16"/>
              </a:cxn>
              <a:cxn ang="0">
                <a:pos x="70" y="16"/>
              </a:cxn>
              <a:cxn ang="0">
                <a:pos x="72" y="15"/>
              </a:cxn>
              <a:cxn ang="0">
                <a:pos x="86" y="24"/>
              </a:cxn>
              <a:cxn ang="0">
                <a:pos x="105" y="18"/>
              </a:cxn>
              <a:cxn ang="0">
                <a:pos x="114" y="36"/>
              </a:cxn>
              <a:cxn ang="0">
                <a:pos x="133" y="57"/>
              </a:cxn>
              <a:cxn ang="0">
                <a:pos x="147" y="58"/>
              </a:cxn>
            </a:cxnLst>
            <a:rect l="0" t="0" r="r" b="b"/>
            <a:pathLst>
              <a:path w="167" h="146">
                <a:moveTo>
                  <a:pt x="147" y="58"/>
                </a:moveTo>
                <a:cubicBezTo>
                  <a:pt x="153" y="55"/>
                  <a:pt x="167" y="50"/>
                  <a:pt x="159" y="62"/>
                </a:cubicBezTo>
                <a:cubicBezTo>
                  <a:pt x="159" y="62"/>
                  <a:pt x="159" y="63"/>
                  <a:pt x="159" y="63"/>
                </a:cubicBezTo>
                <a:cubicBezTo>
                  <a:pt x="156" y="65"/>
                  <a:pt x="153" y="66"/>
                  <a:pt x="151" y="69"/>
                </a:cubicBezTo>
                <a:cubicBezTo>
                  <a:pt x="149" y="71"/>
                  <a:pt x="148" y="74"/>
                  <a:pt x="147" y="77"/>
                </a:cubicBezTo>
                <a:cubicBezTo>
                  <a:pt x="144" y="77"/>
                  <a:pt x="144" y="83"/>
                  <a:pt x="143" y="85"/>
                </a:cubicBezTo>
                <a:cubicBezTo>
                  <a:pt x="142" y="89"/>
                  <a:pt x="139" y="93"/>
                  <a:pt x="136" y="96"/>
                </a:cubicBezTo>
                <a:cubicBezTo>
                  <a:pt x="130" y="103"/>
                  <a:pt x="127" y="116"/>
                  <a:pt x="119" y="121"/>
                </a:cubicBezTo>
                <a:cubicBezTo>
                  <a:pt x="115" y="124"/>
                  <a:pt x="114" y="123"/>
                  <a:pt x="111" y="128"/>
                </a:cubicBezTo>
                <a:cubicBezTo>
                  <a:pt x="109" y="133"/>
                  <a:pt x="109" y="132"/>
                  <a:pt x="104" y="135"/>
                </a:cubicBezTo>
                <a:cubicBezTo>
                  <a:pt x="99" y="138"/>
                  <a:pt x="80" y="146"/>
                  <a:pt x="75" y="141"/>
                </a:cubicBezTo>
                <a:cubicBezTo>
                  <a:pt x="72" y="138"/>
                  <a:pt x="72" y="134"/>
                  <a:pt x="69" y="131"/>
                </a:cubicBezTo>
                <a:cubicBezTo>
                  <a:pt x="65" y="128"/>
                  <a:pt x="60" y="130"/>
                  <a:pt x="57" y="126"/>
                </a:cubicBezTo>
                <a:cubicBezTo>
                  <a:pt x="52" y="121"/>
                  <a:pt x="51" y="114"/>
                  <a:pt x="49" y="108"/>
                </a:cubicBezTo>
                <a:cubicBezTo>
                  <a:pt x="47" y="95"/>
                  <a:pt x="38" y="61"/>
                  <a:pt x="18" y="68"/>
                </a:cubicBezTo>
                <a:cubicBezTo>
                  <a:pt x="12" y="70"/>
                  <a:pt x="6" y="76"/>
                  <a:pt x="3" y="80"/>
                </a:cubicBezTo>
                <a:cubicBezTo>
                  <a:pt x="4" y="80"/>
                  <a:pt x="2" y="79"/>
                  <a:pt x="0" y="79"/>
                </a:cubicBezTo>
                <a:cubicBezTo>
                  <a:pt x="1" y="76"/>
                  <a:pt x="3" y="72"/>
                  <a:pt x="4" y="68"/>
                </a:cubicBezTo>
                <a:cubicBezTo>
                  <a:pt x="8" y="60"/>
                  <a:pt x="5" y="53"/>
                  <a:pt x="4" y="44"/>
                </a:cubicBezTo>
                <a:cubicBezTo>
                  <a:pt x="8" y="41"/>
                  <a:pt x="12" y="37"/>
                  <a:pt x="16" y="35"/>
                </a:cubicBezTo>
                <a:cubicBezTo>
                  <a:pt x="21" y="32"/>
                  <a:pt x="27" y="33"/>
                  <a:pt x="32" y="32"/>
                </a:cubicBezTo>
                <a:cubicBezTo>
                  <a:pt x="37" y="30"/>
                  <a:pt x="38" y="25"/>
                  <a:pt x="43" y="22"/>
                </a:cubicBezTo>
                <a:cubicBezTo>
                  <a:pt x="45" y="20"/>
                  <a:pt x="53" y="16"/>
                  <a:pt x="56" y="15"/>
                </a:cubicBezTo>
                <a:cubicBezTo>
                  <a:pt x="57" y="15"/>
                  <a:pt x="58" y="15"/>
                  <a:pt x="59" y="15"/>
                </a:cubicBezTo>
                <a:cubicBezTo>
                  <a:pt x="58" y="16"/>
                  <a:pt x="57" y="18"/>
                  <a:pt x="56" y="20"/>
                </a:cubicBezTo>
                <a:cubicBezTo>
                  <a:pt x="59" y="19"/>
                  <a:pt x="61" y="17"/>
                  <a:pt x="64" y="16"/>
                </a:cubicBezTo>
                <a:cubicBezTo>
                  <a:pt x="64" y="16"/>
                  <a:pt x="64" y="16"/>
                  <a:pt x="64" y="16"/>
                </a:cubicBezTo>
                <a:cubicBezTo>
                  <a:pt x="66" y="16"/>
                  <a:pt x="68" y="16"/>
                  <a:pt x="70" y="16"/>
                </a:cubicBezTo>
                <a:cubicBezTo>
                  <a:pt x="71" y="16"/>
                  <a:pt x="72" y="15"/>
                  <a:pt x="72" y="15"/>
                </a:cubicBezTo>
                <a:cubicBezTo>
                  <a:pt x="79" y="17"/>
                  <a:pt x="79" y="26"/>
                  <a:pt x="86" y="24"/>
                </a:cubicBezTo>
                <a:cubicBezTo>
                  <a:pt x="88" y="13"/>
                  <a:pt x="102" y="0"/>
                  <a:pt x="105" y="18"/>
                </a:cubicBezTo>
                <a:cubicBezTo>
                  <a:pt x="106" y="27"/>
                  <a:pt x="98" y="40"/>
                  <a:pt x="114" y="36"/>
                </a:cubicBezTo>
                <a:cubicBezTo>
                  <a:pt x="115" y="44"/>
                  <a:pt x="126" y="54"/>
                  <a:pt x="133" y="57"/>
                </a:cubicBezTo>
                <a:cubicBezTo>
                  <a:pt x="138" y="60"/>
                  <a:pt x="141" y="61"/>
                  <a:pt x="147" y="58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 w="6350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4" name="Freeform 4023">
            <a:extLst>
              <a:ext uri="{FF2B5EF4-FFF2-40B4-BE49-F238E27FC236}">
                <a16:creationId xmlns:a16="http://schemas.microsoft.com/office/drawing/2014/main" id="{4E7DA7A1-AA99-4CC1-ACA6-8C5FAA976F19}"/>
              </a:ext>
            </a:extLst>
          </p:cNvPr>
          <p:cNvSpPr>
            <a:spLocks noEditPoints="1"/>
          </p:cNvSpPr>
          <p:nvPr/>
        </p:nvSpPr>
        <p:spPr bwMode="auto">
          <a:xfrm>
            <a:off x="3922212" y="3779824"/>
            <a:ext cx="1621684" cy="1870138"/>
          </a:xfrm>
          <a:custGeom>
            <a:avLst/>
            <a:gdLst/>
            <a:ahLst/>
            <a:cxnLst>
              <a:cxn ang="0">
                <a:pos x="435" y="284"/>
              </a:cxn>
              <a:cxn ang="0">
                <a:pos x="437" y="318"/>
              </a:cxn>
              <a:cxn ang="0">
                <a:pos x="367" y="294"/>
              </a:cxn>
              <a:cxn ang="0">
                <a:pos x="357" y="287"/>
              </a:cxn>
              <a:cxn ang="0">
                <a:pos x="320" y="255"/>
              </a:cxn>
              <a:cxn ang="0">
                <a:pos x="319" y="236"/>
              </a:cxn>
              <a:cxn ang="0">
                <a:pos x="327" y="224"/>
              </a:cxn>
              <a:cxn ang="0">
                <a:pos x="355" y="216"/>
              </a:cxn>
              <a:cxn ang="0">
                <a:pos x="366" y="212"/>
              </a:cxn>
              <a:cxn ang="0">
                <a:pos x="373" y="158"/>
              </a:cxn>
              <a:cxn ang="0">
                <a:pos x="343" y="92"/>
              </a:cxn>
              <a:cxn ang="0">
                <a:pos x="294" y="55"/>
              </a:cxn>
              <a:cxn ang="0">
                <a:pos x="285" y="26"/>
              </a:cxn>
              <a:cxn ang="0">
                <a:pos x="270" y="43"/>
              </a:cxn>
              <a:cxn ang="0">
                <a:pos x="203" y="117"/>
              </a:cxn>
              <a:cxn ang="0">
                <a:pos x="182" y="45"/>
              </a:cxn>
              <a:cxn ang="0">
                <a:pos x="120" y="20"/>
              </a:cxn>
              <a:cxn ang="0">
                <a:pos x="60" y="20"/>
              </a:cxn>
              <a:cxn ang="0">
                <a:pos x="2" y="30"/>
              </a:cxn>
              <a:cxn ang="0">
                <a:pos x="18" y="82"/>
              </a:cxn>
              <a:cxn ang="0">
                <a:pos x="29" y="156"/>
              </a:cxn>
              <a:cxn ang="0">
                <a:pos x="88" y="296"/>
              </a:cxn>
              <a:cxn ang="0">
                <a:pos x="51" y="332"/>
              </a:cxn>
              <a:cxn ang="0">
                <a:pos x="91" y="413"/>
              </a:cxn>
              <a:cxn ang="0">
                <a:pos x="84" y="455"/>
              </a:cxn>
              <a:cxn ang="0">
                <a:pos x="238" y="676"/>
              </a:cxn>
              <a:cxn ang="0">
                <a:pos x="290" y="681"/>
              </a:cxn>
              <a:cxn ang="0">
                <a:pos x="376" y="651"/>
              </a:cxn>
              <a:cxn ang="0">
                <a:pos x="387" y="629"/>
              </a:cxn>
              <a:cxn ang="0">
                <a:pos x="394" y="547"/>
              </a:cxn>
              <a:cxn ang="0">
                <a:pos x="404" y="537"/>
              </a:cxn>
              <a:cxn ang="0">
                <a:pos x="408" y="502"/>
              </a:cxn>
              <a:cxn ang="0">
                <a:pos x="436" y="490"/>
              </a:cxn>
              <a:cxn ang="0">
                <a:pos x="460" y="473"/>
              </a:cxn>
              <a:cxn ang="0">
                <a:pos x="476" y="466"/>
              </a:cxn>
              <a:cxn ang="0">
                <a:pos x="455" y="425"/>
              </a:cxn>
              <a:cxn ang="0">
                <a:pos x="360" y="579"/>
              </a:cxn>
              <a:cxn ang="0">
                <a:pos x="320" y="612"/>
              </a:cxn>
              <a:cxn ang="0">
                <a:pos x="363" y="553"/>
              </a:cxn>
              <a:cxn ang="0">
                <a:pos x="389" y="464"/>
              </a:cxn>
              <a:cxn ang="0">
                <a:pos x="410" y="413"/>
              </a:cxn>
              <a:cxn ang="0">
                <a:pos x="490" y="360"/>
              </a:cxn>
              <a:cxn ang="0">
                <a:pos x="572" y="288"/>
              </a:cxn>
              <a:cxn ang="0">
                <a:pos x="604" y="224"/>
              </a:cxn>
              <a:cxn ang="0">
                <a:pos x="524" y="371"/>
              </a:cxn>
              <a:cxn ang="0">
                <a:pos x="475" y="386"/>
              </a:cxn>
              <a:cxn ang="0">
                <a:pos x="547" y="386"/>
              </a:cxn>
            </a:cxnLst>
            <a:rect l="0" t="0" r="r" b="b"/>
            <a:pathLst>
              <a:path w="604" h="681">
                <a:moveTo>
                  <a:pt x="512" y="263"/>
                </a:moveTo>
                <a:cubicBezTo>
                  <a:pt x="500" y="270"/>
                  <a:pt x="447" y="306"/>
                  <a:pt x="435" y="284"/>
                </a:cubicBezTo>
                <a:cubicBezTo>
                  <a:pt x="432" y="285"/>
                  <a:pt x="427" y="287"/>
                  <a:pt x="424" y="288"/>
                </a:cubicBezTo>
                <a:cubicBezTo>
                  <a:pt x="427" y="299"/>
                  <a:pt x="432" y="310"/>
                  <a:pt x="437" y="318"/>
                </a:cubicBezTo>
                <a:cubicBezTo>
                  <a:pt x="416" y="330"/>
                  <a:pt x="399" y="311"/>
                  <a:pt x="382" y="318"/>
                </a:cubicBezTo>
                <a:cubicBezTo>
                  <a:pt x="375" y="311"/>
                  <a:pt x="368" y="304"/>
                  <a:pt x="367" y="294"/>
                </a:cubicBezTo>
                <a:cubicBezTo>
                  <a:pt x="363" y="299"/>
                  <a:pt x="356" y="307"/>
                  <a:pt x="348" y="308"/>
                </a:cubicBezTo>
                <a:cubicBezTo>
                  <a:pt x="341" y="299"/>
                  <a:pt x="348" y="292"/>
                  <a:pt x="357" y="287"/>
                </a:cubicBezTo>
                <a:cubicBezTo>
                  <a:pt x="352" y="270"/>
                  <a:pt x="333" y="276"/>
                  <a:pt x="320" y="268"/>
                </a:cubicBezTo>
                <a:cubicBezTo>
                  <a:pt x="320" y="264"/>
                  <a:pt x="319" y="259"/>
                  <a:pt x="320" y="255"/>
                </a:cubicBezTo>
                <a:cubicBezTo>
                  <a:pt x="316" y="254"/>
                  <a:pt x="316" y="253"/>
                  <a:pt x="313" y="250"/>
                </a:cubicBezTo>
                <a:cubicBezTo>
                  <a:pt x="316" y="247"/>
                  <a:pt x="316" y="240"/>
                  <a:pt x="319" y="236"/>
                </a:cubicBezTo>
                <a:cubicBezTo>
                  <a:pt x="315" y="234"/>
                  <a:pt x="313" y="230"/>
                  <a:pt x="308" y="228"/>
                </a:cubicBezTo>
                <a:cubicBezTo>
                  <a:pt x="315" y="227"/>
                  <a:pt x="321" y="224"/>
                  <a:pt x="327" y="224"/>
                </a:cubicBezTo>
                <a:cubicBezTo>
                  <a:pt x="325" y="221"/>
                  <a:pt x="321" y="213"/>
                  <a:pt x="318" y="210"/>
                </a:cubicBezTo>
                <a:cubicBezTo>
                  <a:pt x="332" y="209"/>
                  <a:pt x="343" y="213"/>
                  <a:pt x="355" y="216"/>
                </a:cubicBezTo>
                <a:cubicBezTo>
                  <a:pt x="357" y="212"/>
                  <a:pt x="361" y="209"/>
                  <a:pt x="363" y="206"/>
                </a:cubicBezTo>
                <a:cubicBezTo>
                  <a:pt x="365" y="208"/>
                  <a:pt x="364" y="210"/>
                  <a:pt x="366" y="212"/>
                </a:cubicBezTo>
                <a:cubicBezTo>
                  <a:pt x="381" y="201"/>
                  <a:pt x="388" y="207"/>
                  <a:pt x="389" y="188"/>
                </a:cubicBezTo>
                <a:cubicBezTo>
                  <a:pt x="390" y="176"/>
                  <a:pt x="380" y="165"/>
                  <a:pt x="373" y="158"/>
                </a:cubicBezTo>
                <a:cubicBezTo>
                  <a:pt x="354" y="139"/>
                  <a:pt x="349" y="131"/>
                  <a:pt x="345" y="100"/>
                </a:cubicBezTo>
                <a:cubicBezTo>
                  <a:pt x="345" y="98"/>
                  <a:pt x="344" y="94"/>
                  <a:pt x="343" y="92"/>
                </a:cubicBezTo>
                <a:cubicBezTo>
                  <a:pt x="301" y="94"/>
                  <a:pt x="330" y="76"/>
                  <a:pt x="314" y="58"/>
                </a:cubicBezTo>
                <a:cubicBezTo>
                  <a:pt x="306" y="61"/>
                  <a:pt x="301" y="59"/>
                  <a:pt x="294" y="55"/>
                </a:cubicBezTo>
                <a:cubicBezTo>
                  <a:pt x="301" y="45"/>
                  <a:pt x="298" y="36"/>
                  <a:pt x="284" y="38"/>
                </a:cubicBezTo>
                <a:cubicBezTo>
                  <a:pt x="285" y="34"/>
                  <a:pt x="284" y="29"/>
                  <a:pt x="285" y="26"/>
                </a:cubicBezTo>
                <a:cubicBezTo>
                  <a:pt x="275" y="23"/>
                  <a:pt x="272" y="14"/>
                  <a:pt x="269" y="4"/>
                </a:cubicBezTo>
                <a:cubicBezTo>
                  <a:pt x="268" y="17"/>
                  <a:pt x="268" y="30"/>
                  <a:pt x="270" y="43"/>
                </a:cubicBezTo>
                <a:cubicBezTo>
                  <a:pt x="272" y="60"/>
                  <a:pt x="274" y="92"/>
                  <a:pt x="256" y="104"/>
                </a:cubicBezTo>
                <a:cubicBezTo>
                  <a:pt x="236" y="118"/>
                  <a:pt x="219" y="88"/>
                  <a:pt x="203" y="117"/>
                </a:cubicBezTo>
                <a:cubicBezTo>
                  <a:pt x="200" y="105"/>
                  <a:pt x="207" y="96"/>
                  <a:pt x="203" y="84"/>
                </a:cubicBezTo>
                <a:cubicBezTo>
                  <a:pt x="188" y="75"/>
                  <a:pt x="188" y="60"/>
                  <a:pt x="182" y="45"/>
                </a:cubicBezTo>
                <a:cubicBezTo>
                  <a:pt x="176" y="30"/>
                  <a:pt x="168" y="28"/>
                  <a:pt x="153" y="31"/>
                </a:cubicBezTo>
                <a:cubicBezTo>
                  <a:pt x="135" y="36"/>
                  <a:pt x="133" y="33"/>
                  <a:pt x="120" y="20"/>
                </a:cubicBezTo>
                <a:cubicBezTo>
                  <a:pt x="112" y="11"/>
                  <a:pt x="97" y="2"/>
                  <a:pt x="84" y="1"/>
                </a:cubicBezTo>
                <a:cubicBezTo>
                  <a:pt x="71" y="0"/>
                  <a:pt x="66" y="10"/>
                  <a:pt x="60" y="20"/>
                </a:cubicBezTo>
                <a:cubicBezTo>
                  <a:pt x="48" y="22"/>
                  <a:pt x="33" y="19"/>
                  <a:pt x="22" y="16"/>
                </a:cubicBezTo>
                <a:cubicBezTo>
                  <a:pt x="14" y="15"/>
                  <a:pt x="3" y="23"/>
                  <a:pt x="2" y="30"/>
                </a:cubicBezTo>
                <a:cubicBezTo>
                  <a:pt x="0" y="42"/>
                  <a:pt x="11" y="45"/>
                  <a:pt x="15" y="54"/>
                </a:cubicBezTo>
                <a:cubicBezTo>
                  <a:pt x="21" y="64"/>
                  <a:pt x="15" y="73"/>
                  <a:pt x="18" y="82"/>
                </a:cubicBezTo>
                <a:cubicBezTo>
                  <a:pt x="20" y="91"/>
                  <a:pt x="31" y="95"/>
                  <a:pt x="35" y="102"/>
                </a:cubicBezTo>
                <a:cubicBezTo>
                  <a:pt x="46" y="121"/>
                  <a:pt x="32" y="138"/>
                  <a:pt x="29" y="156"/>
                </a:cubicBezTo>
                <a:cubicBezTo>
                  <a:pt x="24" y="177"/>
                  <a:pt x="48" y="184"/>
                  <a:pt x="62" y="195"/>
                </a:cubicBezTo>
                <a:cubicBezTo>
                  <a:pt x="96" y="220"/>
                  <a:pt x="110" y="256"/>
                  <a:pt x="88" y="296"/>
                </a:cubicBezTo>
                <a:cubicBezTo>
                  <a:pt x="84" y="303"/>
                  <a:pt x="80" y="313"/>
                  <a:pt x="74" y="319"/>
                </a:cubicBezTo>
                <a:cubicBezTo>
                  <a:pt x="67" y="325"/>
                  <a:pt x="57" y="326"/>
                  <a:pt x="51" y="332"/>
                </a:cubicBezTo>
                <a:cubicBezTo>
                  <a:pt x="38" y="345"/>
                  <a:pt x="63" y="356"/>
                  <a:pt x="67" y="368"/>
                </a:cubicBezTo>
                <a:cubicBezTo>
                  <a:pt x="74" y="386"/>
                  <a:pt x="81" y="398"/>
                  <a:pt x="91" y="413"/>
                </a:cubicBezTo>
                <a:cubicBezTo>
                  <a:pt x="101" y="428"/>
                  <a:pt x="94" y="446"/>
                  <a:pt x="98" y="464"/>
                </a:cubicBezTo>
                <a:cubicBezTo>
                  <a:pt x="92" y="463"/>
                  <a:pt x="87" y="459"/>
                  <a:pt x="84" y="455"/>
                </a:cubicBezTo>
                <a:cubicBezTo>
                  <a:pt x="96" y="525"/>
                  <a:pt x="102" y="642"/>
                  <a:pt x="167" y="663"/>
                </a:cubicBezTo>
                <a:cubicBezTo>
                  <a:pt x="189" y="670"/>
                  <a:pt x="214" y="671"/>
                  <a:pt x="238" y="676"/>
                </a:cubicBezTo>
                <a:cubicBezTo>
                  <a:pt x="252" y="669"/>
                  <a:pt x="263" y="653"/>
                  <a:pt x="281" y="660"/>
                </a:cubicBezTo>
                <a:cubicBezTo>
                  <a:pt x="285" y="667"/>
                  <a:pt x="288" y="674"/>
                  <a:pt x="290" y="681"/>
                </a:cubicBezTo>
                <a:cubicBezTo>
                  <a:pt x="294" y="679"/>
                  <a:pt x="298" y="678"/>
                  <a:pt x="303" y="676"/>
                </a:cubicBezTo>
                <a:cubicBezTo>
                  <a:pt x="327" y="667"/>
                  <a:pt x="353" y="662"/>
                  <a:pt x="376" y="651"/>
                </a:cubicBezTo>
                <a:cubicBezTo>
                  <a:pt x="377" y="646"/>
                  <a:pt x="373" y="639"/>
                  <a:pt x="375" y="636"/>
                </a:cubicBezTo>
                <a:cubicBezTo>
                  <a:pt x="378" y="632"/>
                  <a:pt x="384" y="633"/>
                  <a:pt x="387" y="629"/>
                </a:cubicBezTo>
                <a:cubicBezTo>
                  <a:pt x="400" y="616"/>
                  <a:pt x="392" y="589"/>
                  <a:pt x="390" y="573"/>
                </a:cubicBezTo>
                <a:cubicBezTo>
                  <a:pt x="390" y="565"/>
                  <a:pt x="392" y="556"/>
                  <a:pt x="394" y="547"/>
                </a:cubicBezTo>
                <a:cubicBezTo>
                  <a:pt x="395" y="544"/>
                  <a:pt x="395" y="540"/>
                  <a:pt x="398" y="538"/>
                </a:cubicBezTo>
                <a:cubicBezTo>
                  <a:pt x="399" y="538"/>
                  <a:pt x="402" y="537"/>
                  <a:pt x="404" y="537"/>
                </a:cubicBezTo>
                <a:cubicBezTo>
                  <a:pt x="405" y="534"/>
                  <a:pt x="407" y="530"/>
                  <a:pt x="408" y="526"/>
                </a:cubicBezTo>
                <a:cubicBezTo>
                  <a:pt x="412" y="518"/>
                  <a:pt x="409" y="511"/>
                  <a:pt x="408" y="502"/>
                </a:cubicBezTo>
                <a:cubicBezTo>
                  <a:pt x="412" y="499"/>
                  <a:pt x="416" y="495"/>
                  <a:pt x="420" y="493"/>
                </a:cubicBezTo>
                <a:cubicBezTo>
                  <a:pt x="425" y="490"/>
                  <a:pt x="431" y="491"/>
                  <a:pt x="436" y="490"/>
                </a:cubicBezTo>
                <a:cubicBezTo>
                  <a:pt x="441" y="488"/>
                  <a:pt x="442" y="483"/>
                  <a:pt x="447" y="480"/>
                </a:cubicBezTo>
                <a:cubicBezTo>
                  <a:pt x="449" y="478"/>
                  <a:pt x="457" y="474"/>
                  <a:pt x="460" y="473"/>
                </a:cubicBezTo>
                <a:cubicBezTo>
                  <a:pt x="461" y="473"/>
                  <a:pt x="462" y="473"/>
                  <a:pt x="463" y="473"/>
                </a:cubicBezTo>
                <a:cubicBezTo>
                  <a:pt x="466" y="469"/>
                  <a:pt x="470" y="467"/>
                  <a:pt x="476" y="466"/>
                </a:cubicBezTo>
                <a:cubicBezTo>
                  <a:pt x="490" y="462"/>
                  <a:pt x="499" y="456"/>
                  <a:pt x="503" y="441"/>
                </a:cubicBezTo>
                <a:cubicBezTo>
                  <a:pt x="513" y="406"/>
                  <a:pt x="473" y="413"/>
                  <a:pt x="455" y="425"/>
                </a:cubicBezTo>
                <a:cubicBezTo>
                  <a:pt x="431" y="442"/>
                  <a:pt x="400" y="471"/>
                  <a:pt x="391" y="500"/>
                </a:cubicBezTo>
                <a:cubicBezTo>
                  <a:pt x="383" y="525"/>
                  <a:pt x="378" y="559"/>
                  <a:pt x="360" y="579"/>
                </a:cubicBezTo>
                <a:cubicBezTo>
                  <a:pt x="346" y="595"/>
                  <a:pt x="327" y="607"/>
                  <a:pt x="315" y="625"/>
                </a:cubicBezTo>
                <a:cubicBezTo>
                  <a:pt x="316" y="620"/>
                  <a:pt x="318" y="616"/>
                  <a:pt x="320" y="612"/>
                </a:cubicBezTo>
                <a:cubicBezTo>
                  <a:pt x="325" y="603"/>
                  <a:pt x="331" y="596"/>
                  <a:pt x="338" y="589"/>
                </a:cubicBezTo>
                <a:cubicBezTo>
                  <a:pt x="348" y="577"/>
                  <a:pt x="357" y="568"/>
                  <a:pt x="363" y="553"/>
                </a:cubicBezTo>
                <a:cubicBezTo>
                  <a:pt x="369" y="538"/>
                  <a:pt x="372" y="522"/>
                  <a:pt x="374" y="506"/>
                </a:cubicBezTo>
                <a:cubicBezTo>
                  <a:pt x="376" y="491"/>
                  <a:pt x="382" y="478"/>
                  <a:pt x="389" y="464"/>
                </a:cubicBezTo>
                <a:cubicBezTo>
                  <a:pt x="394" y="455"/>
                  <a:pt x="403" y="450"/>
                  <a:pt x="408" y="441"/>
                </a:cubicBezTo>
                <a:cubicBezTo>
                  <a:pt x="413" y="433"/>
                  <a:pt x="407" y="422"/>
                  <a:pt x="410" y="413"/>
                </a:cubicBezTo>
                <a:cubicBezTo>
                  <a:pt x="414" y="398"/>
                  <a:pt x="431" y="388"/>
                  <a:pt x="442" y="378"/>
                </a:cubicBezTo>
                <a:cubicBezTo>
                  <a:pt x="458" y="366"/>
                  <a:pt x="472" y="366"/>
                  <a:pt x="490" y="360"/>
                </a:cubicBezTo>
                <a:cubicBezTo>
                  <a:pt x="513" y="352"/>
                  <a:pt x="542" y="341"/>
                  <a:pt x="560" y="324"/>
                </a:cubicBezTo>
                <a:cubicBezTo>
                  <a:pt x="570" y="314"/>
                  <a:pt x="570" y="301"/>
                  <a:pt x="572" y="288"/>
                </a:cubicBezTo>
                <a:cubicBezTo>
                  <a:pt x="576" y="270"/>
                  <a:pt x="583" y="251"/>
                  <a:pt x="594" y="236"/>
                </a:cubicBezTo>
                <a:cubicBezTo>
                  <a:pt x="597" y="232"/>
                  <a:pt x="601" y="228"/>
                  <a:pt x="604" y="224"/>
                </a:cubicBezTo>
                <a:cubicBezTo>
                  <a:pt x="590" y="201"/>
                  <a:pt x="525" y="256"/>
                  <a:pt x="512" y="263"/>
                </a:cubicBezTo>
                <a:close/>
                <a:moveTo>
                  <a:pt x="524" y="371"/>
                </a:moveTo>
                <a:cubicBezTo>
                  <a:pt x="507" y="370"/>
                  <a:pt x="488" y="372"/>
                  <a:pt x="474" y="384"/>
                </a:cubicBezTo>
                <a:cubicBezTo>
                  <a:pt x="474" y="384"/>
                  <a:pt x="475" y="385"/>
                  <a:pt x="475" y="386"/>
                </a:cubicBezTo>
                <a:cubicBezTo>
                  <a:pt x="492" y="388"/>
                  <a:pt x="508" y="391"/>
                  <a:pt x="526" y="390"/>
                </a:cubicBezTo>
                <a:cubicBezTo>
                  <a:pt x="531" y="389"/>
                  <a:pt x="543" y="389"/>
                  <a:pt x="547" y="386"/>
                </a:cubicBezTo>
                <a:cubicBezTo>
                  <a:pt x="564" y="374"/>
                  <a:pt x="530" y="372"/>
                  <a:pt x="524" y="371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 w="6350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5" name="Freeform 4024">
            <a:extLst>
              <a:ext uri="{FF2B5EF4-FFF2-40B4-BE49-F238E27FC236}">
                <a16:creationId xmlns:a16="http://schemas.microsoft.com/office/drawing/2014/main" id="{8B9A7A18-0A14-48E7-9628-DD17A8019EA9}"/>
              </a:ext>
            </a:extLst>
          </p:cNvPr>
          <p:cNvSpPr>
            <a:spLocks/>
          </p:cNvSpPr>
          <p:nvPr/>
        </p:nvSpPr>
        <p:spPr bwMode="auto">
          <a:xfrm>
            <a:off x="3042503" y="4573155"/>
            <a:ext cx="1618816" cy="1622253"/>
          </a:xfrm>
          <a:custGeom>
            <a:avLst/>
            <a:gdLst/>
            <a:ahLst/>
            <a:cxnLst>
              <a:cxn ang="0">
                <a:pos x="603" y="397"/>
              </a:cxn>
              <a:cxn ang="0">
                <a:pos x="559" y="454"/>
              </a:cxn>
              <a:cxn ang="0">
                <a:pos x="527" y="468"/>
              </a:cxn>
              <a:cxn ang="0">
                <a:pos x="471" y="510"/>
              </a:cxn>
              <a:cxn ang="0">
                <a:pos x="464" y="535"/>
              </a:cxn>
              <a:cxn ang="0">
                <a:pos x="399" y="582"/>
              </a:cxn>
              <a:cxn ang="0">
                <a:pos x="402" y="534"/>
              </a:cxn>
              <a:cxn ang="0">
                <a:pos x="409" y="511"/>
              </a:cxn>
              <a:cxn ang="0">
                <a:pos x="414" y="470"/>
              </a:cxn>
              <a:cxn ang="0">
                <a:pos x="441" y="452"/>
              </a:cxn>
              <a:cxn ang="0">
                <a:pos x="362" y="410"/>
              </a:cxn>
              <a:cxn ang="0">
                <a:pos x="324" y="418"/>
              </a:cxn>
              <a:cxn ang="0">
                <a:pos x="292" y="397"/>
              </a:cxn>
              <a:cxn ang="0">
                <a:pos x="287" y="367"/>
              </a:cxn>
              <a:cxn ang="0">
                <a:pos x="269" y="355"/>
              </a:cxn>
              <a:cxn ang="0">
                <a:pos x="213" y="326"/>
              </a:cxn>
              <a:cxn ang="0">
                <a:pos x="168" y="356"/>
              </a:cxn>
              <a:cxn ang="0">
                <a:pos x="115" y="357"/>
              </a:cxn>
              <a:cxn ang="0">
                <a:pos x="86" y="355"/>
              </a:cxn>
              <a:cxn ang="0">
                <a:pos x="29" y="344"/>
              </a:cxn>
              <a:cxn ang="0">
                <a:pos x="1" y="312"/>
              </a:cxn>
              <a:cxn ang="0">
                <a:pos x="2" y="216"/>
              </a:cxn>
              <a:cxn ang="0">
                <a:pos x="33" y="134"/>
              </a:cxn>
              <a:cxn ang="0">
                <a:pos x="158" y="16"/>
              </a:cxn>
              <a:cxn ang="0">
                <a:pos x="188" y="33"/>
              </a:cxn>
              <a:cxn ang="0">
                <a:pos x="213" y="41"/>
              </a:cxn>
              <a:cxn ang="0">
                <a:pos x="240" y="53"/>
              </a:cxn>
              <a:cxn ang="0">
                <a:pos x="300" y="60"/>
              </a:cxn>
              <a:cxn ang="0">
                <a:pos x="328" y="147"/>
              </a:cxn>
              <a:cxn ang="0">
                <a:pos x="363" y="176"/>
              </a:cxn>
              <a:cxn ang="0">
                <a:pos x="397" y="171"/>
              </a:cxn>
              <a:cxn ang="0">
                <a:pos x="480" y="379"/>
              </a:cxn>
              <a:cxn ang="0">
                <a:pos x="594" y="376"/>
              </a:cxn>
            </a:cxnLst>
            <a:rect l="0" t="0" r="r" b="b"/>
            <a:pathLst>
              <a:path w="603" h="591">
                <a:moveTo>
                  <a:pt x="594" y="376"/>
                </a:moveTo>
                <a:cubicBezTo>
                  <a:pt x="598" y="383"/>
                  <a:pt x="601" y="390"/>
                  <a:pt x="603" y="397"/>
                </a:cubicBezTo>
                <a:cubicBezTo>
                  <a:pt x="591" y="402"/>
                  <a:pt x="582" y="409"/>
                  <a:pt x="574" y="423"/>
                </a:cubicBezTo>
                <a:cubicBezTo>
                  <a:pt x="568" y="433"/>
                  <a:pt x="563" y="443"/>
                  <a:pt x="559" y="454"/>
                </a:cubicBezTo>
                <a:cubicBezTo>
                  <a:pt x="554" y="448"/>
                  <a:pt x="544" y="447"/>
                  <a:pt x="541" y="454"/>
                </a:cubicBezTo>
                <a:cubicBezTo>
                  <a:pt x="536" y="464"/>
                  <a:pt x="541" y="467"/>
                  <a:pt x="527" y="468"/>
                </a:cubicBezTo>
                <a:cubicBezTo>
                  <a:pt x="511" y="470"/>
                  <a:pt x="495" y="475"/>
                  <a:pt x="483" y="488"/>
                </a:cubicBezTo>
                <a:cubicBezTo>
                  <a:pt x="477" y="494"/>
                  <a:pt x="472" y="502"/>
                  <a:pt x="471" y="510"/>
                </a:cubicBezTo>
                <a:cubicBezTo>
                  <a:pt x="477" y="512"/>
                  <a:pt x="503" y="505"/>
                  <a:pt x="499" y="519"/>
                </a:cubicBezTo>
                <a:cubicBezTo>
                  <a:pt x="497" y="529"/>
                  <a:pt x="472" y="531"/>
                  <a:pt x="464" y="535"/>
                </a:cubicBezTo>
                <a:cubicBezTo>
                  <a:pt x="453" y="540"/>
                  <a:pt x="442" y="546"/>
                  <a:pt x="430" y="551"/>
                </a:cubicBezTo>
                <a:cubicBezTo>
                  <a:pt x="415" y="557"/>
                  <a:pt x="412" y="575"/>
                  <a:pt x="399" y="582"/>
                </a:cubicBezTo>
                <a:cubicBezTo>
                  <a:pt x="380" y="591"/>
                  <a:pt x="382" y="575"/>
                  <a:pt x="388" y="564"/>
                </a:cubicBezTo>
                <a:cubicBezTo>
                  <a:pt x="394" y="555"/>
                  <a:pt x="397" y="544"/>
                  <a:pt x="402" y="534"/>
                </a:cubicBezTo>
                <a:cubicBezTo>
                  <a:pt x="403" y="532"/>
                  <a:pt x="406" y="530"/>
                  <a:pt x="408" y="527"/>
                </a:cubicBezTo>
                <a:cubicBezTo>
                  <a:pt x="410" y="523"/>
                  <a:pt x="410" y="517"/>
                  <a:pt x="409" y="511"/>
                </a:cubicBezTo>
                <a:cubicBezTo>
                  <a:pt x="409" y="505"/>
                  <a:pt x="406" y="501"/>
                  <a:pt x="405" y="496"/>
                </a:cubicBezTo>
                <a:cubicBezTo>
                  <a:pt x="403" y="486"/>
                  <a:pt x="414" y="480"/>
                  <a:pt x="414" y="470"/>
                </a:cubicBezTo>
                <a:cubicBezTo>
                  <a:pt x="414" y="463"/>
                  <a:pt x="407" y="458"/>
                  <a:pt x="409" y="450"/>
                </a:cubicBezTo>
                <a:cubicBezTo>
                  <a:pt x="418" y="455"/>
                  <a:pt x="432" y="462"/>
                  <a:pt x="441" y="452"/>
                </a:cubicBezTo>
                <a:cubicBezTo>
                  <a:pt x="448" y="444"/>
                  <a:pt x="442" y="429"/>
                  <a:pt x="434" y="423"/>
                </a:cubicBezTo>
                <a:cubicBezTo>
                  <a:pt x="416" y="408"/>
                  <a:pt x="384" y="411"/>
                  <a:pt x="362" y="410"/>
                </a:cubicBezTo>
                <a:cubicBezTo>
                  <a:pt x="357" y="410"/>
                  <a:pt x="351" y="410"/>
                  <a:pt x="346" y="411"/>
                </a:cubicBezTo>
                <a:cubicBezTo>
                  <a:pt x="338" y="413"/>
                  <a:pt x="333" y="419"/>
                  <a:pt x="324" y="418"/>
                </a:cubicBezTo>
                <a:cubicBezTo>
                  <a:pt x="315" y="417"/>
                  <a:pt x="310" y="410"/>
                  <a:pt x="303" y="406"/>
                </a:cubicBezTo>
                <a:cubicBezTo>
                  <a:pt x="298" y="403"/>
                  <a:pt x="295" y="402"/>
                  <a:pt x="292" y="397"/>
                </a:cubicBezTo>
                <a:cubicBezTo>
                  <a:pt x="290" y="392"/>
                  <a:pt x="292" y="386"/>
                  <a:pt x="289" y="381"/>
                </a:cubicBezTo>
                <a:cubicBezTo>
                  <a:pt x="297" y="379"/>
                  <a:pt x="294" y="365"/>
                  <a:pt x="287" y="367"/>
                </a:cubicBezTo>
                <a:cubicBezTo>
                  <a:pt x="284" y="364"/>
                  <a:pt x="285" y="360"/>
                  <a:pt x="282" y="357"/>
                </a:cubicBezTo>
                <a:cubicBezTo>
                  <a:pt x="279" y="354"/>
                  <a:pt x="274" y="355"/>
                  <a:pt x="269" y="355"/>
                </a:cubicBezTo>
                <a:cubicBezTo>
                  <a:pt x="263" y="365"/>
                  <a:pt x="245" y="346"/>
                  <a:pt x="242" y="341"/>
                </a:cubicBezTo>
                <a:cubicBezTo>
                  <a:pt x="240" y="325"/>
                  <a:pt x="225" y="326"/>
                  <a:pt x="213" y="326"/>
                </a:cubicBezTo>
                <a:cubicBezTo>
                  <a:pt x="200" y="327"/>
                  <a:pt x="193" y="316"/>
                  <a:pt x="185" y="329"/>
                </a:cubicBezTo>
                <a:cubicBezTo>
                  <a:pt x="180" y="338"/>
                  <a:pt x="174" y="349"/>
                  <a:pt x="168" y="356"/>
                </a:cubicBezTo>
                <a:cubicBezTo>
                  <a:pt x="161" y="363"/>
                  <a:pt x="141" y="365"/>
                  <a:pt x="131" y="364"/>
                </a:cubicBezTo>
                <a:cubicBezTo>
                  <a:pt x="125" y="363"/>
                  <a:pt x="121" y="356"/>
                  <a:pt x="115" y="357"/>
                </a:cubicBezTo>
                <a:cubicBezTo>
                  <a:pt x="108" y="358"/>
                  <a:pt x="106" y="367"/>
                  <a:pt x="98" y="362"/>
                </a:cubicBezTo>
                <a:cubicBezTo>
                  <a:pt x="90" y="358"/>
                  <a:pt x="95" y="356"/>
                  <a:pt x="86" y="355"/>
                </a:cubicBezTo>
                <a:cubicBezTo>
                  <a:pt x="72" y="355"/>
                  <a:pt x="72" y="349"/>
                  <a:pt x="60" y="345"/>
                </a:cubicBezTo>
                <a:cubicBezTo>
                  <a:pt x="51" y="341"/>
                  <a:pt x="39" y="346"/>
                  <a:pt x="29" y="344"/>
                </a:cubicBezTo>
                <a:cubicBezTo>
                  <a:pt x="20" y="342"/>
                  <a:pt x="15" y="345"/>
                  <a:pt x="10" y="333"/>
                </a:cubicBezTo>
                <a:cubicBezTo>
                  <a:pt x="7" y="325"/>
                  <a:pt x="13" y="315"/>
                  <a:pt x="1" y="312"/>
                </a:cubicBezTo>
                <a:cubicBezTo>
                  <a:pt x="1" y="314"/>
                  <a:pt x="0" y="315"/>
                  <a:pt x="0" y="317"/>
                </a:cubicBezTo>
                <a:cubicBezTo>
                  <a:pt x="0" y="283"/>
                  <a:pt x="2" y="249"/>
                  <a:pt x="2" y="216"/>
                </a:cubicBezTo>
                <a:cubicBezTo>
                  <a:pt x="2" y="202"/>
                  <a:pt x="1" y="166"/>
                  <a:pt x="1" y="166"/>
                </a:cubicBezTo>
                <a:cubicBezTo>
                  <a:pt x="1" y="166"/>
                  <a:pt x="25" y="144"/>
                  <a:pt x="33" y="134"/>
                </a:cubicBezTo>
                <a:cubicBezTo>
                  <a:pt x="69" y="92"/>
                  <a:pt x="106" y="45"/>
                  <a:pt x="137" y="0"/>
                </a:cubicBezTo>
                <a:cubicBezTo>
                  <a:pt x="146" y="2"/>
                  <a:pt x="152" y="9"/>
                  <a:pt x="158" y="16"/>
                </a:cubicBezTo>
                <a:cubicBezTo>
                  <a:pt x="162" y="22"/>
                  <a:pt x="164" y="29"/>
                  <a:pt x="169" y="32"/>
                </a:cubicBezTo>
                <a:cubicBezTo>
                  <a:pt x="175" y="35"/>
                  <a:pt x="182" y="31"/>
                  <a:pt x="188" y="33"/>
                </a:cubicBezTo>
                <a:cubicBezTo>
                  <a:pt x="192" y="35"/>
                  <a:pt x="194" y="39"/>
                  <a:pt x="198" y="41"/>
                </a:cubicBezTo>
                <a:cubicBezTo>
                  <a:pt x="203" y="42"/>
                  <a:pt x="208" y="38"/>
                  <a:pt x="213" y="41"/>
                </a:cubicBezTo>
                <a:cubicBezTo>
                  <a:pt x="218" y="44"/>
                  <a:pt x="218" y="51"/>
                  <a:pt x="223" y="53"/>
                </a:cubicBezTo>
                <a:cubicBezTo>
                  <a:pt x="229" y="57"/>
                  <a:pt x="233" y="54"/>
                  <a:pt x="240" y="53"/>
                </a:cubicBezTo>
                <a:cubicBezTo>
                  <a:pt x="251" y="50"/>
                  <a:pt x="262" y="50"/>
                  <a:pt x="273" y="49"/>
                </a:cubicBezTo>
                <a:cubicBezTo>
                  <a:pt x="286" y="49"/>
                  <a:pt x="297" y="46"/>
                  <a:pt x="300" y="60"/>
                </a:cubicBezTo>
                <a:cubicBezTo>
                  <a:pt x="304" y="75"/>
                  <a:pt x="302" y="91"/>
                  <a:pt x="308" y="106"/>
                </a:cubicBezTo>
                <a:cubicBezTo>
                  <a:pt x="313" y="121"/>
                  <a:pt x="315" y="137"/>
                  <a:pt x="328" y="147"/>
                </a:cubicBezTo>
                <a:cubicBezTo>
                  <a:pt x="335" y="154"/>
                  <a:pt x="344" y="157"/>
                  <a:pt x="347" y="167"/>
                </a:cubicBezTo>
                <a:cubicBezTo>
                  <a:pt x="352" y="170"/>
                  <a:pt x="358" y="172"/>
                  <a:pt x="363" y="176"/>
                </a:cubicBezTo>
                <a:cubicBezTo>
                  <a:pt x="368" y="180"/>
                  <a:pt x="369" y="188"/>
                  <a:pt x="374" y="191"/>
                </a:cubicBezTo>
                <a:cubicBezTo>
                  <a:pt x="393" y="204"/>
                  <a:pt x="393" y="181"/>
                  <a:pt x="397" y="171"/>
                </a:cubicBezTo>
                <a:cubicBezTo>
                  <a:pt x="397" y="171"/>
                  <a:pt x="397" y="171"/>
                  <a:pt x="397" y="171"/>
                </a:cubicBezTo>
                <a:cubicBezTo>
                  <a:pt x="409" y="241"/>
                  <a:pt x="415" y="358"/>
                  <a:pt x="480" y="379"/>
                </a:cubicBezTo>
                <a:cubicBezTo>
                  <a:pt x="502" y="386"/>
                  <a:pt x="527" y="387"/>
                  <a:pt x="551" y="392"/>
                </a:cubicBezTo>
                <a:cubicBezTo>
                  <a:pt x="565" y="385"/>
                  <a:pt x="576" y="369"/>
                  <a:pt x="594" y="376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 w="6350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6" name="Freeform 4025">
            <a:extLst>
              <a:ext uri="{FF2B5EF4-FFF2-40B4-BE49-F238E27FC236}">
                <a16:creationId xmlns:a16="http://schemas.microsoft.com/office/drawing/2014/main" id="{587939CD-1E21-4B8C-89E4-84B40A19452D}"/>
              </a:ext>
            </a:extLst>
          </p:cNvPr>
          <p:cNvSpPr>
            <a:spLocks/>
          </p:cNvSpPr>
          <p:nvPr/>
        </p:nvSpPr>
        <p:spPr bwMode="auto">
          <a:xfrm>
            <a:off x="2565131" y="4189980"/>
            <a:ext cx="827332" cy="1284895"/>
          </a:xfrm>
          <a:custGeom>
            <a:avLst/>
            <a:gdLst/>
            <a:ahLst/>
            <a:cxnLst>
              <a:cxn ang="0">
                <a:pos x="303" y="134"/>
              </a:cxn>
              <a:cxn ang="0">
                <a:pos x="308" y="135"/>
              </a:cxn>
              <a:cxn ang="0">
                <a:pos x="204" y="269"/>
              </a:cxn>
              <a:cxn ang="0">
                <a:pos x="172" y="301"/>
              </a:cxn>
              <a:cxn ang="0">
                <a:pos x="173" y="351"/>
              </a:cxn>
              <a:cxn ang="0">
                <a:pos x="171" y="452"/>
              </a:cxn>
              <a:cxn ang="0">
                <a:pos x="171" y="452"/>
              </a:cxn>
              <a:cxn ang="0">
                <a:pos x="169" y="464"/>
              </a:cxn>
              <a:cxn ang="0">
                <a:pos x="122" y="464"/>
              </a:cxn>
              <a:cxn ang="0">
                <a:pos x="0" y="457"/>
              </a:cxn>
              <a:cxn ang="0">
                <a:pos x="13" y="242"/>
              </a:cxn>
              <a:cxn ang="0">
                <a:pos x="30" y="0"/>
              </a:cxn>
              <a:cxn ang="0">
                <a:pos x="180" y="11"/>
              </a:cxn>
              <a:cxn ang="0">
                <a:pos x="178" y="22"/>
              </a:cxn>
              <a:cxn ang="0">
                <a:pos x="187" y="65"/>
              </a:cxn>
              <a:cxn ang="0">
                <a:pos x="222" y="78"/>
              </a:cxn>
              <a:cxn ang="0">
                <a:pos x="228" y="129"/>
              </a:cxn>
              <a:cxn ang="0">
                <a:pos x="250" y="126"/>
              </a:cxn>
              <a:cxn ang="0">
                <a:pos x="281" y="127"/>
              </a:cxn>
              <a:cxn ang="0">
                <a:pos x="289" y="134"/>
              </a:cxn>
              <a:cxn ang="0">
                <a:pos x="303" y="134"/>
              </a:cxn>
            </a:cxnLst>
            <a:rect l="0" t="0" r="r" b="b"/>
            <a:pathLst>
              <a:path w="308" h="468">
                <a:moveTo>
                  <a:pt x="303" y="134"/>
                </a:moveTo>
                <a:cubicBezTo>
                  <a:pt x="305" y="134"/>
                  <a:pt x="306" y="134"/>
                  <a:pt x="308" y="135"/>
                </a:cubicBezTo>
                <a:cubicBezTo>
                  <a:pt x="277" y="180"/>
                  <a:pt x="240" y="227"/>
                  <a:pt x="204" y="269"/>
                </a:cubicBezTo>
                <a:cubicBezTo>
                  <a:pt x="196" y="279"/>
                  <a:pt x="172" y="301"/>
                  <a:pt x="172" y="301"/>
                </a:cubicBezTo>
                <a:cubicBezTo>
                  <a:pt x="172" y="301"/>
                  <a:pt x="173" y="337"/>
                  <a:pt x="173" y="351"/>
                </a:cubicBezTo>
                <a:cubicBezTo>
                  <a:pt x="173" y="384"/>
                  <a:pt x="171" y="418"/>
                  <a:pt x="171" y="452"/>
                </a:cubicBezTo>
                <a:cubicBezTo>
                  <a:pt x="171" y="452"/>
                  <a:pt x="171" y="452"/>
                  <a:pt x="171" y="452"/>
                </a:cubicBezTo>
                <a:cubicBezTo>
                  <a:pt x="170" y="456"/>
                  <a:pt x="169" y="460"/>
                  <a:pt x="169" y="464"/>
                </a:cubicBezTo>
                <a:cubicBezTo>
                  <a:pt x="170" y="468"/>
                  <a:pt x="126" y="464"/>
                  <a:pt x="122" y="464"/>
                </a:cubicBezTo>
                <a:cubicBezTo>
                  <a:pt x="81" y="463"/>
                  <a:pt x="40" y="461"/>
                  <a:pt x="0" y="457"/>
                </a:cubicBezTo>
                <a:cubicBezTo>
                  <a:pt x="4" y="385"/>
                  <a:pt x="9" y="314"/>
                  <a:pt x="13" y="242"/>
                </a:cubicBezTo>
                <a:cubicBezTo>
                  <a:pt x="19" y="163"/>
                  <a:pt x="21" y="81"/>
                  <a:pt x="30" y="0"/>
                </a:cubicBezTo>
                <a:cubicBezTo>
                  <a:pt x="78" y="6"/>
                  <a:pt x="128" y="10"/>
                  <a:pt x="180" y="11"/>
                </a:cubicBezTo>
                <a:cubicBezTo>
                  <a:pt x="179" y="14"/>
                  <a:pt x="178" y="18"/>
                  <a:pt x="178" y="22"/>
                </a:cubicBezTo>
                <a:cubicBezTo>
                  <a:pt x="176" y="34"/>
                  <a:pt x="171" y="60"/>
                  <a:pt x="187" y="65"/>
                </a:cubicBezTo>
                <a:cubicBezTo>
                  <a:pt x="203" y="70"/>
                  <a:pt x="215" y="56"/>
                  <a:pt x="222" y="78"/>
                </a:cubicBezTo>
                <a:cubicBezTo>
                  <a:pt x="226" y="93"/>
                  <a:pt x="227" y="113"/>
                  <a:pt x="228" y="129"/>
                </a:cubicBezTo>
                <a:cubicBezTo>
                  <a:pt x="228" y="134"/>
                  <a:pt x="249" y="126"/>
                  <a:pt x="250" y="126"/>
                </a:cubicBezTo>
                <a:cubicBezTo>
                  <a:pt x="259" y="124"/>
                  <a:pt x="273" y="124"/>
                  <a:pt x="281" y="127"/>
                </a:cubicBezTo>
                <a:cubicBezTo>
                  <a:pt x="284" y="129"/>
                  <a:pt x="285" y="133"/>
                  <a:pt x="289" y="134"/>
                </a:cubicBezTo>
                <a:cubicBezTo>
                  <a:pt x="293" y="136"/>
                  <a:pt x="299" y="133"/>
                  <a:pt x="303" y="134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 w="6350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7" name="Freeform 4026">
            <a:extLst>
              <a:ext uri="{FF2B5EF4-FFF2-40B4-BE49-F238E27FC236}">
                <a16:creationId xmlns:a16="http://schemas.microsoft.com/office/drawing/2014/main" id="{C5639261-B30C-4A3A-BDAA-A53A8A1496F3}"/>
              </a:ext>
            </a:extLst>
          </p:cNvPr>
          <p:cNvSpPr>
            <a:spLocks/>
          </p:cNvSpPr>
          <p:nvPr/>
        </p:nvSpPr>
        <p:spPr bwMode="auto">
          <a:xfrm>
            <a:off x="1919187" y="4117608"/>
            <a:ext cx="701152" cy="1327432"/>
          </a:xfrm>
          <a:custGeom>
            <a:avLst/>
            <a:gdLst/>
            <a:ahLst/>
            <a:cxnLst>
              <a:cxn ang="0">
                <a:pos x="261" y="26"/>
              </a:cxn>
              <a:cxn ang="0">
                <a:pos x="244" y="268"/>
              </a:cxn>
              <a:cxn ang="0">
                <a:pos x="231" y="483"/>
              </a:cxn>
              <a:cxn ang="0">
                <a:pos x="0" y="444"/>
              </a:cxn>
              <a:cxn ang="0">
                <a:pos x="107" y="0"/>
              </a:cxn>
              <a:cxn ang="0">
                <a:pos x="261" y="26"/>
              </a:cxn>
            </a:cxnLst>
            <a:rect l="0" t="0" r="r" b="b"/>
            <a:pathLst>
              <a:path w="261" h="483">
                <a:moveTo>
                  <a:pt x="261" y="26"/>
                </a:moveTo>
                <a:cubicBezTo>
                  <a:pt x="252" y="107"/>
                  <a:pt x="250" y="189"/>
                  <a:pt x="244" y="268"/>
                </a:cubicBezTo>
                <a:cubicBezTo>
                  <a:pt x="240" y="340"/>
                  <a:pt x="235" y="411"/>
                  <a:pt x="231" y="483"/>
                </a:cubicBezTo>
                <a:cubicBezTo>
                  <a:pt x="147" y="474"/>
                  <a:pt x="69" y="460"/>
                  <a:pt x="0" y="444"/>
                </a:cubicBezTo>
                <a:cubicBezTo>
                  <a:pt x="107" y="0"/>
                  <a:pt x="107" y="0"/>
                  <a:pt x="107" y="0"/>
                </a:cubicBezTo>
                <a:cubicBezTo>
                  <a:pt x="155" y="11"/>
                  <a:pt x="207" y="20"/>
                  <a:pt x="261" y="26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 w="6350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8" name="Freeform 4027">
            <a:extLst>
              <a:ext uri="{FF2B5EF4-FFF2-40B4-BE49-F238E27FC236}">
                <a16:creationId xmlns:a16="http://schemas.microsoft.com/office/drawing/2014/main" id="{5C806733-A503-496C-9FAD-E74B706858C0}"/>
              </a:ext>
            </a:extLst>
          </p:cNvPr>
          <p:cNvSpPr>
            <a:spLocks noEditPoints="1"/>
          </p:cNvSpPr>
          <p:nvPr/>
        </p:nvSpPr>
        <p:spPr bwMode="auto">
          <a:xfrm>
            <a:off x="1995270" y="1523999"/>
            <a:ext cx="2471956" cy="2675397"/>
          </a:xfrm>
          <a:custGeom>
            <a:avLst/>
            <a:gdLst/>
            <a:ahLst/>
            <a:cxnLst>
              <a:cxn ang="0">
                <a:pos x="861" y="668"/>
              </a:cxn>
              <a:cxn ang="0">
                <a:pos x="883" y="649"/>
              </a:cxn>
              <a:cxn ang="0">
                <a:pos x="795" y="558"/>
              </a:cxn>
              <a:cxn ang="0">
                <a:pos x="734" y="489"/>
              </a:cxn>
              <a:cxn ang="0">
                <a:pos x="666" y="461"/>
              </a:cxn>
              <a:cxn ang="0">
                <a:pos x="598" y="434"/>
              </a:cxn>
              <a:cxn ang="0">
                <a:pos x="509" y="419"/>
              </a:cxn>
              <a:cxn ang="0">
                <a:pos x="448" y="443"/>
              </a:cxn>
              <a:cxn ang="0">
                <a:pos x="582" y="526"/>
              </a:cxn>
              <a:cxn ang="0">
                <a:pos x="677" y="578"/>
              </a:cxn>
              <a:cxn ang="0">
                <a:pos x="702" y="719"/>
              </a:cxn>
              <a:cxn ang="0">
                <a:pos x="768" y="758"/>
              </a:cxn>
              <a:cxn ang="0">
                <a:pos x="908" y="780"/>
              </a:cxn>
              <a:cxn ang="0">
                <a:pos x="675" y="797"/>
              </a:cxn>
              <a:cxn ang="0">
                <a:pos x="647" y="611"/>
              </a:cxn>
              <a:cxn ang="0">
                <a:pos x="609" y="790"/>
              </a:cxn>
              <a:cxn ang="0">
                <a:pos x="531" y="795"/>
              </a:cxn>
              <a:cxn ang="0">
                <a:pos x="635" y="792"/>
              </a:cxn>
              <a:cxn ang="0">
                <a:pos x="607" y="836"/>
              </a:cxn>
              <a:cxn ang="0">
                <a:pos x="547" y="417"/>
              </a:cxn>
              <a:cxn ang="0">
                <a:pos x="590" y="656"/>
              </a:cxn>
              <a:cxn ang="0">
                <a:pos x="517" y="650"/>
              </a:cxn>
              <a:cxn ang="0">
                <a:pos x="399" y="510"/>
              </a:cxn>
              <a:cxn ang="0">
                <a:pos x="363" y="646"/>
              </a:cxn>
              <a:cxn ang="0">
                <a:pos x="185" y="682"/>
              </a:cxn>
              <a:cxn ang="0">
                <a:pos x="23" y="528"/>
              </a:cxn>
              <a:cxn ang="0">
                <a:pos x="181" y="771"/>
              </a:cxn>
              <a:cxn ang="0">
                <a:pos x="398" y="826"/>
              </a:cxn>
              <a:cxn ang="0">
                <a:pos x="446" y="738"/>
              </a:cxn>
              <a:cxn ang="0">
                <a:pos x="470" y="134"/>
              </a:cxn>
              <a:cxn ang="0">
                <a:pos x="467" y="206"/>
              </a:cxn>
              <a:cxn ang="0">
                <a:pos x="456" y="249"/>
              </a:cxn>
              <a:cxn ang="0">
                <a:pos x="533" y="266"/>
              </a:cxn>
              <a:cxn ang="0">
                <a:pos x="544" y="203"/>
              </a:cxn>
              <a:cxn ang="0">
                <a:pos x="534" y="147"/>
              </a:cxn>
              <a:cxn ang="0">
                <a:pos x="543" y="78"/>
              </a:cxn>
              <a:cxn ang="0">
                <a:pos x="480" y="13"/>
              </a:cxn>
              <a:cxn ang="0">
                <a:pos x="433" y="71"/>
              </a:cxn>
              <a:cxn ang="0">
                <a:pos x="510" y="372"/>
              </a:cxn>
              <a:cxn ang="0">
                <a:pos x="473" y="336"/>
              </a:cxn>
              <a:cxn ang="0">
                <a:pos x="388" y="295"/>
              </a:cxn>
              <a:cxn ang="0">
                <a:pos x="459" y="386"/>
              </a:cxn>
              <a:cxn ang="0">
                <a:pos x="453" y="181"/>
              </a:cxn>
              <a:cxn ang="0">
                <a:pos x="374" y="187"/>
              </a:cxn>
              <a:cxn ang="0">
                <a:pos x="385" y="495"/>
              </a:cxn>
              <a:cxn ang="0">
                <a:pos x="423" y="261"/>
              </a:cxn>
              <a:cxn ang="0">
                <a:pos x="388" y="352"/>
              </a:cxn>
              <a:cxn ang="0">
                <a:pos x="353" y="213"/>
              </a:cxn>
              <a:cxn ang="0">
                <a:pos x="365" y="616"/>
              </a:cxn>
              <a:cxn ang="0">
                <a:pos x="340" y="449"/>
              </a:cxn>
              <a:cxn ang="0">
                <a:pos x="297" y="445"/>
              </a:cxn>
              <a:cxn ang="0">
                <a:pos x="313" y="310"/>
              </a:cxn>
              <a:cxn ang="0">
                <a:pos x="343" y="306"/>
              </a:cxn>
              <a:cxn ang="0">
                <a:pos x="301" y="185"/>
              </a:cxn>
              <a:cxn ang="0">
                <a:pos x="214" y="586"/>
              </a:cxn>
              <a:cxn ang="0">
                <a:pos x="274" y="543"/>
              </a:cxn>
              <a:cxn ang="0">
                <a:pos x="197" y="441"/>
              </a:cxn>
              <a:cxn ang="0">
                <a:pos x="276" y="322"/>
              </a:cxn>
              <a:cxn ang="0">
                <a:pos x="237" y="358"/>
              </a:cxn>
              <a:cxn ang="0">
                <a:pos x="209" y="622"/>
              </a:cxn>
            </a:cxnLst>
            <a:rect l="0" t="0" r="r" b="b"/>
            <a:pathLst>
              <a:path w="921" h="974">
                <a:moveTo>
                  <a:pt x="830" y="732"/>
                </a:moveTo>
                <a:cubicBezTo>
                  <a:pt x="840" y="708"/>
                  <a:pt x="873" y="737"/>
                  <a:pt x="889" y="738"/>
                </a:cubicBezTo>
                <a:cubicBezTo>
                  <a:pt x="921" y="741"/>
                  <a:pt x="910" y="712"/>
                  <a:pt x="893" y="715"/>
                </a:cubicBezTo>
                <a:cubicBezTo>
                  <a:pt x="896" y="715"/>
                  <a:pt x="898" y="712"/>
                  <a:pt x="903" y="713"/>
                </a:cubicBezTo>
                <a:cubicBezTo>
                  <a:pt x="894" y="708"/>
                  <a:pt x="895" y="701"/>
                  <a:pt x="890" y="695"/>
                </a:cubicBezTo>
                <a:cubicBezTo>
                  <a:pt x="884" y="689"/>
                  <a:pt x="877" y="689"/>
                  <a:pt x="873" y="681"/>
                </a:cubicBezTo>
                <a:cubicBezTo>
                  <a:pt x="861" y="684"/>
                  <a:pt x="868" y="672"/>
                  <a:pt x="861" y="668"/>
                </a:cubicBezTo>
                <a:cubicBezTo>
                  <a:pt x="855" y="666"/>
                  <a:pt x="846" y="674"/>
                  <a:pt x="840" y="671"/>
                </a:cubicBezTo>
                <a:cubicBezTo>
                  <a:pt x="830" y="667"/>
                  <a:pt x="825" y="642"/>
                  <a:pt x="813" y="663"/>
                </a:cubicBezTo>
                <a:cubicBezTo>
                  <a:pt x="813" y="652"/>
                  <a:pt x="805" y="652"/>
                  <a:pt x="799" y="645"/>
                </a:cubicBezTo>
                <a:cubicBezTo>
                  <a:pt x="815" y="645"/>
                  <a:pt x="797" y="618"/>
                  <a:pt x="824" y="623"/>
                </a:cubicBezTo>
                <a:cubicBezTo>
                  <a:pt x="827" y="624"/>
                  <a:pt x="832" y="630"/>
                  <a:pt x="834" y="630"/>
                </a:cubicBezTo>
                <a:cubicBezTo>
                  <a:pt x="838" y="630"/>
                  <a:pt x="845" y="625"/>
                  <a:pt x="850" y="623"/>
                </a:cubicBezTo>
                <a:cubicBezTo>
                  <a:pt x="851" y="631"/>
                  <a:pt x="877" y="654"/>
                  <a:pt x="883" y="649"/>
                </a:cubicBezTo>
                <a:cubicBezTo>
                  <a:pt x="888" y="646"/>
                  <a:pt x="890" y="642"/>
                  <a:pt x="889" y="637"/>
                </a:cubicBezTo>
                <a:cubicBezTo>
                  <a:pt x="873" y="626"/>
                  <a:pt x="888" y="623"/>
                  <a:pt x="891" y="615"/>
                </a:cubicBezTo>
                <a:cubicBezTo>
                  <a:pt x="896" y="603"/>
                  <a:pt x="891" y="586"/>
                  <a:pt x="892" y="573"/>
                </a:cubicBezTo>
                <a:cubicBezTo>
                  <a:pt x="884" y="566"/>
                  <a:pt x="873" y="562"/>
                  <a:pt x="862" y="560"/>
                </a:cubicBezTo>
                <a:cubicBezTo>
                  <a:pt x="855" y="560"/>
                  <a:pt x="848" y="562"/>
                  <a:pt x="842" y="561"/>
                </a:cubicBezTo>
                <a:cubicBezTo>
                  <a:pt x="835" y="560"/>
                  <a:pt x="830" y="554"/>
                  <a:pt x="824" y="553"/>
                </a:cubicBezTo>
                <a:cubicBezTo>
                  <a:pt x="814" y="551"/>
                  <a:pt x="804" y="559"/>
                  <a:pt x="795" y="558"/>
                </a:cubicBezTo>
                <a:cubicBezTo>
                  <a:pt x="788" y="556"/>
                  <a:pt x="787" y="549"/>
                  <a:pt x="784" y="547"/>
                </a:cubicBezTo>
                <a:cubicBezTo>
                  <a:pt x="772" y="543"/>
                  <a:pt x="759" y="556"/>
                  <a:pt x="749" y="546"/>
                </a:cubicBezTo>
                <a:cubicBezTo>
                  <a:pt x="755" y="544"/>
                  <a:pt x="761" y="529"/>
                  <a:pt x="754" y="526"/>
                </a:cubicBezTo>
                <a:cubicBezTo>
                  <a:pt x="763" y="530"/>
                  <a:pt x="772" y="523"/>
                  <a:pt x="764" y="514"/>
                </a:cubicBezTo>
                <a:cubicBezTo>
                  <a:pt x="757" y="520"/>
                  <a:pt x="749" y="519"/>
                  <a:pt x="742" y="519"/>
                </a:cubicBezTo>
                <a:cubicBezTo>
                  <a:pt x="732" y="508"/>
                  <a:pt x="754" y="505"/>
                  <a:pt x="752" y="497"/>
                </a:cubicBezTo>
                <a:cubicBezTo>
                  <a:pt x="751" y="492"/>
                  <a:pt x="739" y="495"/>
                  <a:pt x="734" y="489"/>
                </a:cubicBezTo>
                <a:cubicBezTo>
                  <a:pt x="732" y="502"/>
                  <a:pt x="726" y="502"/>
                  <a:pt x="715" y="503"/>
                </a:cubicBezTo>
                <a:cubicBezTo>
                  <a:pt x="714" y="495"/>
                  <a:pt x="726" y="489"/>
                  <a:pt x="722" y="482"/>
                </a:cubicBezTo>
                <a:cubicBezTo>
                  <a:pt x="717" y="473"/>
                  <a:pt x="702" y="477"/>
                  <a:pt x="698" y="483"/>
                </a:cubicBezTo>
                <a:cubicBezTo>
                  <a:pt x="696" y="480"/>
                  <a:pt x="693" y="480"/>
                  <a:pt x="691" y="476"/>
                </a:cubicBezTo>
                <a:cubicBezTo>
                  <a:pt x="686" y="480"/>
                  <a:pt x="681" y="486"/>
                  <a:pt x="674" y="487"/>
                </a:cubicBezTo>
                <a:cubicBezTo>
                  <a:pt x="673" y="477"/>
                  <a:pt x="686" y="453"/>
                  <a:pt x="665" y="457"/>
                </a:cubicBezTo>
                <a:cubicBezTo>
                  <a:pt x="664" y="459"/>
                  <a:pt x="666" y="459"/>
                  <a:pt x="666" y="461"/>
                </a:cubicBezTo>
                <a:cubicBezTo>
                  <a:pt x="665" y="461"/>
                  <a:pt x="662" y="463"/>
                  <a:pt x="661" y="463"/>
                </a:cubicBezTo>
                <a:cubicBezTo>
                  <a:pt x="660" y="467"/>
                  <a:pt x="658" y="472"/>
                  <a:pt x="657" y="476"/>
                </a:cubicBezTo>
                <a:cubicBezTo>
                  <a:pt x="651" y="473"/>
                  <a:pt x="649" y="463"/>
                  <a:pt x="642" y="462"/>
                </a:cubicBezTo>
                <a:cubicBezTo>
                  <a:pt x="639" y="461"/>
                  <a:pt x="630" y="466"/>
                  <a:pt x="627" y="467"/>
                </a:cubicBezTo>
                <a:cubicBezTo>
                  <a:pt x="635" y="453"/>
                  <a:pt x="632" y="448"/>
                  <a:pt x="618" y="442"/>
                </a:cubicBezTo>
                <a:cubicBezTo>
                  <a:pt x="616" y="441"/>
                  <a:pt x="604" y="438"/>
                  <a:pt x="604" y="438"/>
                </a:cubicBezTo>
                <a:cubicBezTo>
                  <a:pt x="602" y="437"/>
                  <a:pt x="600" y="435"/>
                  <a:pt x="598" y="434"/>
                </a:cubicBezTo>
                <a:cubicBezTo>
                  <a:pt x="590" y="439"/>
                  <a:pt x="585" y="431"/>
                  <a:pt x="578" y="439"/>
                </a:cubicBezTo>
                <a:cubicBezTo>
                  <a:pt x="571" y="446"/>
                  <a:pt x="577" y="456"/>
                  <a:pt x="576" y="464"/>
                </a:cubicBezTo>
                <a:cubicBezTo>
                  <a:pt x="570" y="464"/>
                  <a:pt x="566" y="459"/>
                  <a:pt x="564" y="453"/>
                </a:cubicBezTo>
                <a:cubicBezTo>
                  <a:pt x="555" y="457"/>
                  <a:pt x="563" y="467"/>
                  <a:pt x="554" y="472"/>
                </a:cubicBezTo>
                <a:cubicBezTo>
                  <a:pt x="547" y="459"/>
                  <a:pt x="557" y="447"/>
                  <a:pt x="549" y="432"/>
                </a:cubicBezTo>
                <a:cubicBezTo>
                  <a:pt x="545" y="425"/>
                  <a:pt x="541" y="412"/>
                  <a:pt x="533" y="408"/>
                </a:cubicBezTo>
                <a:cubicBezTo>
                  <a:pt x="519" y="403"/>
                  <a:pt x="515" y="419"/>
                  <a:pt x="509" y="419"/>
                </a:cubicBezTo>
                <a:cubicBezTo>
                  <a:pt x="491" y="419"/>
                  <a:pt x="493" y="445"/>
                  <a:pt x="495" y="456"/>
                </a:cubicBezTo>
                <a:cubicBezTo>
                  <a:pt x="497" y="468"/>
                  <a:pt x="498" y="466"/>
                  <a:pt x="494" y="479"/>
                </a:cubicBezTo>
                <a:cubicBezTo>
                  <a:pt x="502" y="487"/>
                  <a:pt x="511" y="500"/>
                  <a:pt x="508" y="511"/>
                </a:cubicBezTo>
                <a:cubicBezTo>
                  <a:pt x="490" y="501"/>
                  <a:pt x="485" y="481"/>
                  <a:pt x="481" y="463"/>
                </a:cubicBezTo>
                <a:cubicBezTo>
                  <a:pt x="479" y="450"/>
                  <a:pt x="477" y="452"/>
                  <a:pt x="481" y="438"/>
                </a:cubicBezTo>
                <a:cubicBezTo>
                  <a:pt x="484" y="429"/>
                  <a:pt x="488" y="420"/>
                  <a:pt x="489" y="410"/>
                </a:cubicBezTo>
                <a:cubicBezTo>
                  <a:pt x="469" y="416"/>
                  <a:pt x="455" y="422"/>
                  <a:pt x="448" y="443"/>
                </a:cubicBezTo>
                <a:cubicBezTo>
                  <a:pt x="444" y="456"/>
                  <a:pt x="437" y="508"/>
                  <a:pt x="446" y="516"/>
                </a:cubicBezTo>
                <a:cubicBezTo>
                  <a:pt x="457" y="525"/>
                  <a:pt x="474" y="514"/>
                  <a:pt x="481" y="531"/>
                </a:cubicBezTo>
                <a:cubicBezTo>
                  <a:pt x="471" y="534"/>
                  <a:pt x="465" y="528"/>
                  <a:pt x="455" y="530"/>
                </a:cubicBezTo>
                <a:cubicBezTo>
                  <a:pt x="455" y="536"/>
                  <a:pt x="460" y="555"/>
                  <a:pt x="466" y="557"/>
                </a:cubicBezTo>
                <a:cubicBezTo>
                  <a:pt x="470" y="559"/>
                  <a:pt x="491" y="550"/>
                  <a:pt x="489" y="547"/>
                </a:cubicBezTo>
                <a:cubicBezTo>
                  <a:pt x="498" y="569"/>
                  <a:pt x="567" y="562"/>
                  <a:pt x="578" y="549"/>
                </a:cubicBezTo>
                <a:cubicBezTo>
                  <a:pt x="609" y="559"/>
                  <a:pt x="579" y="533"/>
                  <a:pt x="582" y="526"/>
                </a:cubicBezTo>
                <a:cubicBezTo>
                  <a:pt x="588" y="527"/>
                  <a:pt x="598" y="525"/>
                  <a:pt x="603" y="528"/>
                </a:cubicBezTo>
                <a:cubicBezTo>
                  <a:pt x="608" y="531"/>
                  <a:pt x="609" y="539"/>
                  <a:pt x="613" y="543"/>
                </a:cubicBezTo>
                <a:cubicBezTo>
                  <a:pt x="622" y="553"/>
                  <a:pt x="638" y="556"/>
                  <a:pt x="647" y="566"/>
                </a:cubicBezTo>
                <a:cubicBezTo>
                  <a:pt x="641" y="574"/>
                  <a:pt x="636" y="579"/>
                  <a:pt x="643" y="588"/>
                </a:cubicBezTo>
                <a:cubicBezTo>
                  <a:pt x="650" y="584"/>
                  <a:pt x="651" y="573"/>
                  <a:pt x="658" y="567"/>
                </a:cubicBezTo>
                <a:cubicBezTo>
                  <a:pt x="664" y="569"/>
                  <a:pt x="670" y="573"/>
                  <a:pt x="673" y="579"/>
                </a:cubicBezTo>
                <a:cubicBezTo>
                  <a:pt x="674" y="579"/>
                  <a:pt x="676" y="578"/>
                  <a:pt x="677" y="578"/>
                </a:cubicBezTo>
                <a:cubicBezTo>
                  <a:pt x="687" y="595"/>
                  <a:pt x="704" y="596"/>
                  <a:pt x="716" y="610"/>
                </a:cubicBezTo>
                <a:cubicBezTo>
                  <a:pt x="724" y="619"/>
                  <a:pt x="724" y="620"/>
                  <a:pt x="721" y="632"/>
                </a:cubicBezTo>
                <a:cubicBezTo>
                  <a:pt x="719" y="639"/>
                  <a:pt x="707" y="647"/>
                  <a:pt x="720" y="653"/>
                </a:cubicBezTo>
                <a:cubicBezTo>
                  <a:pt x="720" y="665"/>
                  <a:pt x="704" y="671"/>
                  <a:pt x="705" y="686"/>
                </a:cubicBezTo>
                <a:cubicBezTo>
                  <a:pt x="714" y="685"/>
                  <a:pt x="723" y="686"/>
                  <a:pt x="729" y="694"/>
                </a:cubicBezTo>
                <a:cubicBezTo>
                  <a:pt x="723" y="700"/>
                  <a:pt x="715" y="707"/>
                  <a:pt x="707" y="709"/>
                </a:cubicBezTo>
                <a:cubicBezTo>
                  <a:pt x="707" y="713"/>
                  <a:pt x="703" y="716"/>
                  <a:pt x="702" y="719"/>
                </a:cubicBezTo>
                <a:cubicBezTo>
                  <a:pt x="685" y="714"/>
                  <a:pt x="670" y="712"/>
                  <a:pt x="667" y="732"/>
                </a:cubicBezTo>
                <a:cubicBezTo>
                  <a:pt x="657" y="732"/>
                  <a:pt x="656" y="740"/>
                  <a:pt x="658" y="748"/>
                </a:cubicBezTo>
                <a:cubicBezTo>
                  <a:pt x="664" y="748"/>
                  <a:pt x="668" y="753"/>
                  <a:pt x="668" y="758"/>
                </a:cubicBezTo>
                <a:cubicBezTo>
                  <a:pt x="681" y="760"/>
                  <a:pt x="685" y="763"/>
                  <a:pt x="697" y="755"/>
                </a:cubicBezTo>
                <a:cubicBezTo>
                  <a:pt x="703" y="750"/>
                  <a:pt x="711" y="732"/>
                  <a:pt x="720" y="743"/>
                </a:cubicBezTo>
                <a:cubicBezTo>
                  <a:pt x="730" y="724"/>
                  <a:pt x="750" y="742"/>
                  <a:pt x="760" y="749"/>
                </a:cubicBezTo>
                <a:cubicBezTo>
                  <a:pt x="764" y="752"/>
                  <a:pt x="764" y="756"/>
                  <a:pt x="768" y="758"/>
                </a:cubicBezTo>
                <a:cubicBezTo>
                  <a:pt x="772" y="759"/>
                  <a:pt x="777" y="755"/>
                  <a:pt x="781" y="756"/>
                </a:cubicBezTo>
                <a:cubicBezTo>
                  <a:pt x="790" y="759"/>
                  <a:pt x="792" y="762"/>
                  <a:pt x="793" y="774"/>
                </a:cubicBezTo>
                <a:cubicBezTo>
                  <a:pt x="798" y="775"/>
                  <a:pt x="805" y="776"/>
                  <a:pt x="810" y="776"/>
                </a:cubicBezTo>
                <a:cubicBezTo>
                  <a:pt x="814" y="776"/>
                  <a:pt x="822" y="771"/>
                  <a:pt x="825" y="772"/>
                </a:cubicBezTo>
                <a:cubicBezTo>
                  <a:pt x="833" y="773"/>
                  <a:pt x="838" y="782"/>
                  <a:pt x="845" y="784"/>
                </a:cubicBezTo>
                <a:cubicBezTo>
                  <a:pt x="856" y="788"/>
                  <a:pt x="863" y="781"/>
                  <a:pt x="872" y="780"/>
                </a:cubicBezTo>
                <a:cubicBezTo>
                  <a:pt x="884" y="778"/>
                  <a:pt x="896" y="781"/>
                  <a:pt x="908" y="780"/>
                </a:cubicBezTo>
                <a:cubicBezTo>
                  <a:pt x="904" y="749"/>
                  <a:pt x="848" y="756"/>
                  <a:pt x="830" y="732"/>
                </a:cubicBezTo>
                <a:close/>
                <a:moveTo>
                  <a:pt x="686" y="797"/>
                </a:moveTo>
                <a:cubicBezTo>
                  <a:pt x="688" y="798"/>
                  <a:pt x="688" y="798"/>
                  <a:pt x="688" y="798"/>
                </a:cubicBezTo>
                <a:cubicBezTo>
                  <a:pt x="687" y="797"/>
                  <a:pt x="686" y="797"/>
                  <a:pt x="686" y="796"/>
                </a:cubicBezTo>
                <a:cubicBezTo>
                  <a:pt x="685" y="796"/>
                  <a:pt x="684" y="795"/>
                  <a:pt x="683" y="795"/>
                </a:cubicBezTo>
                <a:cubicBezTo>
                  <a:pt x="683" y="795"/>
                  <a:pt x="683" y="795"/>
                  <a:pt x="683" y="795"/>
                </a:cubicBezTo>
                <a:cubicBezTo>
                  <a:pt x="680" y="795"/>
                  <a:pt x="677" y="795"/>
                  <a:pt x="675" y="797"/>
                </a:cubicBezTo>
                <a:cubicBezTo>
                  <a:pt x="677" y="811"/>
                  <a:pt x="693" y="808"/>
                  <a:pt x="687" y="799"/>
                </a:cubicBezTo>
                <a:cubicBezTo>
                  <a:pt x="687" y="798"/>
                  <a:pt x="687" y="797"/>
                  <a:pt x="686" y="797"/>
                </a:cubicBezTo>
                <a:close/>
                <a:moveTo>
                  <a:pt x="679" y="632"/>
                </a:moveTo>
                <a:cubicBezTo>
                  <a:pt x="681" y="622"/>
                  <a:pt x="676" y="623"/>
                  <a:pt x="674" y="616"/>
                </a:cubicBezTo>
                <a:cubicBezTo>
                  <a:pt x="673" y="610"/>
                  <a:pt x="676" y="598"/>
                  <a:pt x="666" y="601"/>
                </a:cubicBezTo>
                <a:cubicBezTo>
                  <a:pt x="668" y="601"/>
                  <a:pt x="668" y="601"/>
                  <a:pt x="668" y="601"/>
                </a:cubicBezTo>
                <a:cubicBezTo>
                  <a:pt x="659" y="601"/>
                  <a:pt x="650" y="602"/>
                  <a:pt x="647" y="611"/>
                </a:cubicBezTo>
                <a:cubicBezTo>
                  <a:pt x="645" y="617"/>
                  <a:pt x="648" y="635"/>
                  <a:pt x="649" y="643"/>
                </a:cubicBezTo>
                <a:cubicBezTo>
                  <a:pt x="658" y="650"/>
                  <a:pt x="677" y="642"/>
                  <a:pt x="679" y="632"/>
                </a:cubicBezTo>
                <a:close/>
                <a:moveTo>
                  <a:pt x="661" y="846"/>
                </a:moveTo>
                <a:cubicBezTo>
                  <a:pt x="646" y="848"/>
                  <a:pt x="660" y="874"/>
                  <a:pt x="664" y="880"/>
                </a:cubicBezTo>
                <a:cubicBezTo>
                  <a:pt x="676" y="876"/>
                  <a:pt x="674" y="845"/>
                  <a:pt x="661" y="846"/>
                </a:cubicBezTo>
                <a:close/>
                <a:moveTo>
                  <a:pt x="613" y="790"/>
                </a:moveTo>
                <a:cubicBezTo>
                  <a:pt x="611" y="790"/>
                  <a:pt x="611" y="790"/>
                  <a:pt x="609" y="790"/>
                </a:cubicBezTo>
                <a:cubicBezTo>
                  <a:pt x="608" y="775"/>
                  <a:pt x="600" y="776"/>
                  <a:pt x="592" y="765"/>
                </a:cubicBezTo>
                <a:cubicBezTo>
                  <a:pt x="586" y="764"/>
                  <a:pt x="582" y="756"/>
                  <a:pt x="577" y="752"/>
                </a:cubicBezTo>
                <a:cubicBezTo>
                  <a:pt x="570" y="748"/>
                  <a:pt x="561" y="746"/>
                  <a:pt x="555" y="743"/>
                </a:cubicBezTo>
                <a:cubicBezTo>
                  <a:pt x="548" y="769"/>
                  <a:pt x="539" y="732"/>
                  <a:pt x="532" y="733"/>
                </a:cubicBezTo>
                <a:cubicBezTo>
                  <a:pt x="526" y="733"/>
                  <a:pt x="521" y="754"/>
                  <a:pt x="528" y="757"/>
                </a:cubicBezTo>
                <a:cubicBezTo>
                  <a:pt x="529" y="757"/>
                  <a:pt x="530" y="758"/>
                  <a:pt x="532" y="758"/>
                </a:cubicBezTo>
                <a:cubicBezTo>
                  <a:pt x="531" y="770"/>
                  <a:pt x="535" y="783"/>
                  <a:pt x="531" y="795"/>
                </a:cubicBezTo>
                <a:cubicBezTo>
                  <a:pt x="528" y="806"/>
                  <a:pt x="519" y="813"/>
                  <a:pt x="516" y="824"/>
                </a:cubicBezTo>
                <a:cubicBezTo>
                  <a:pt x="524" y="825"/>
                  <a:pt x="534" y="817"/>
                  <a:pt x="541" y="818"/>
                </a:cubicBezTo>
                <a:cubicBezTo>
                  <a:pt x="553" y="821"/>
                  <a:pt x="540" y="837"/>
                  <a:pt x="554" y="842"/>
                </a:cubicBezTo>
                <a:cubicBezTo>
                  <a:pt x="563" y="837"/>
                  <a:pt x="571" y="819"/>
                  <a:pt x="575" y="810"/>
                </a:cubicBezTo>
                <a:cubicBezTo>
                  <a:pt x="587" y="789"/>
                  <a:pt x="585" y="799"/>
                  <a:pt x="603" y="806"/>
                </a:cubicBezTo>
                <a:cubicBezTo>
                  <a:pt x="609" y="809"/>
                  <a:pt x="620" y="811"/>
                  <a:pt x="626" y="812"/>
                </a:cubicBezTo>
                <a:cubicBezTo>
                  <a:pt x="631" y="806"/>
                  <a:pt x="640" y="800"/>
                  <a:pt x="635" y="792"/>
                </a:cubicBezTo>
                <a:cubicBezTo>
                  <a:pt x="630" y="786"/>
                  <a:pt x="618" y="789"/>
                  <a:pt x="613" y="790"/>
                </a:cubicBezTo>
                <a:close/>
                <a:moveTo>
                  <a:pt x="607" y="836"/>
                </a:moveTo>
                <a:cubicBezTo>
                  <a:pt x="608" y="837"/>
                  <a:pt x="608" y="837"/>
                  <a:pt x="608" y="837"/>
                </a:cubicBezTo>
                <a:cubicBezTo>
                  <a:pt x="599" y="838"/>
                  <a:pt x="589" y="837"/>
                  <a:pt x="585" y="846"/>
                </a:cubicBezTo>
                <a:cubicBezTo>
                  <a:pt x="580" y="854"/>
                  <a:pt x="585" y="873"/>
                  <a:pt x="598" y="870"/>
                </a:cubicBezTo>
                <a:cubicBezTo>
                  <a:pt x="604" y="868"/>
                  <a:pt x="615" y="849"/>
                  <a:pt x="616" y="842"/>
                </a:cubicBezTo>
                <a:cubicBezTo>
                  <a:pt x="618" y="834"/>
                  <a:pt x="616" y="827"/>
                  <a:pt x="607" y="836"/>
                </a:cubicBezTo>
                <a:close/>
                <a:moveTo>
                  <a:pt x="547" y="417"/>
                </a:moveTo>
                <a:cubicBezTo>
                  <a:pt x="548" y="420"/>
                  <a:pt x="552" y="425"/>
                  <a:pt x="555" y="431"/>
                </a:cubicBezTo>
                <a:cubicBezTo>
                  <a:pt x="564" y="448"/>
                  <a:pt x="562" y="439"/>
                  <a:pt x="575" y="432"/>
                </a:cubicBezTo>
                <a:cubicBezTo>
                  <a:pt x="581" y="428"/>
                  <a:pt x="585" y="431"/>
                  <a:pt x="592" y="430"/>
                </a:cubicBezTo>
                <a:cubicBezTo>
                  <a:pt x="609" y="428"/>
                  <a:pt x="601" y="415"/>
                  <a:pt x="591" y="407"/>
                </a:cubicBezTo>
                <a:cubicBezTo>
                  <a:pt x="582" y="401"/>
                  <a:pt x="565" y="402"/>
                  <a:pt x="555" y="405"/>
                </a:cubicBezTo>
                <a:cubicBezTo>
                  <a:pt x="546" y="408"/>
                  <a:pt x="545" y="412"/>
                  <a:pt x="547" y="417"/>
                </a:cubicBezTo>
                <a:close/>
                <a:moveTo>
                  <a:pt x="480" y="741"/>
                </a:moveTo>
                <a:cubicBezTo>
                  <a:pt x="490" y="747"/>
                  <a:pt x="495" y="758"/>
                  <a:pt x="509" y="750"/>
                </a:cubicBezTo>
                <a:cubicBezTo>
                  <a:pt x="520" y="745"/>
                  <a:pt x="523" y="729"/>
                  <a:pt x="528" y="719"/>
                </a:cubicBezTo>
                <a:cubicBezTo>
                  <a:pt x="526" y="718"/>
                  <a:pt x="512" y="710"/>
                  <a:pt x="510" y="711"/>
                </a:cubicBezTo>
                <a:cubicBezTo>
                  <a:pt x="515" y="708"/>
                  <a:pt x="533" y="697"/>
                  <a:pt x="535" y="710"/>
                </a:cubicBezTo>
                <a:cubicBezTo>
                  <a:pt x="552" y="711"/>
                  <a:pt x="558" y="701"/>
                  <a:pt x="569" y="690"/>
                </a:cubicBezTo>
                <a:cubicBezTo>
                  <a:pt x="580" y="680"/>
                  <a:pt x="595" y="673"/>
                  <a:pt x="590" y="656"/>
                </a:cubicBezTo>
                <a:cubicBezTo>
                  <a:pt x="589" y="653"/>
                  <a:pt x="559" y="614"/>
                  <a:pt x="560" y="614"/>
                </a:cubicBezTo>
                <a:cubicBezTo>
                  <a:pt x="585" y="612"/>
                  <a:pt x="571" y="588"/>
                  <a:pt x="560" y="578"/>
                </a:cubicBezTo>
                <a:cubicBezTo>
                  <a:pt x="546" y="582"/>
                  <a:pt x="537" y="565"/>
                  <a:pt x="524" y="576"/>
                </a:cubicBezTo>
                <a:cubicBezTo>
                  <a:pt x="519" y="573"/>
                  <a:pt x="515" y="574"/>
                  <a:pt x="510" y="572"/>
                </a:cubicBezTo>
                <a:cubicBezTo>
                  <a:pt x="508" y="579"/>
                  <a:pt x="508" y="585"/>
                  <a:pt x="512" y="592"/>
                </a:cubicBezTo>
                <a:cubicBezTo>
                  <a:pt x="514" y="592"/>
                  <a:pt x="517" y="592"/>
                  <a:pt x="519" y="592"/>
                </a:cubicBezTo>
                <a:cubicBezTo>
                  <a:pt x="524" y="606"/>
                  <a:pt x="520" y="636"/>
                  <a:pt x="517" y="650"/>
                </a:cubicBezTo>
                <a:cubicBezTo>
                  <a:pt x="502" y="713"/>
                  <a:pt x="464" y="648"/>
                  <a:pt x="482" y="626"/>
                </a:cubicBezTo>
                <a:cubicBezTo>
                  <a:pt x="472" y="618"/>
                  <a:pt x="466" y="608"/>
                  <a:pt x="456" y="601"/>
                </a:cubicBezTo>
                <a:cubicBezTo>
                  <a:pt x="455" y="614"/>
                  <a:pt x="464" y="633"/>
                  <a:pt x="456" y="642"/>
                </a:cubicBezTo>
                <a:cubicBezTo>
                  <a:pt x="453" y="641"/>
                  <a:pt x="448" y="639"/>
                  <a:pt x="446" y="638"/>
                </a:cubicBezTo>
                <a:cubicBezTo>
                  <a:pt x="447" y="619"/>
                  <a:pt x="440" y="593"/>
                  <a:pt x="416" y="600"/>
                </a:cubicBezTo>
                <a:cubicBezTo>
                  <a:pt x="412" y="583"/>
                  <a:pt x="418" y="567"/>
                  <a:pt x="415" y="551"/>
                </a:cubicBezTo>
                <a:cubicBezTo>
                  <a:pt x="414" y="543"/>
                  <a:pt x="405" y="520"/>
                  <a:pt x="399" y="510"/>
                </a:cubicBezTo>
                <a:cubicBezTo>
                  <a:pt x="390" y="511"/>
                  <a:pt x="382" y="507"/>
                  <a:pt x="374" y="505"/>
                </a:cubicBezTo>
                <a:cubicBezTo>
                  <a:pt x="374" y="516"/>
                  <a:pt x="365" y="533"/>
                  <a:pt x="362" y="542"/>
                </a:cubicBezTo>
                <a:cubicBezTo>
                  <a:pt x="354" y="578"/>
                  <a:pt x="381" y="581"/>
                  <a:pt x="392" y="613"/>
                </a:cubicBezTo>
                <a:cubicBezTo>
                  <a:pt x="400" y="634"/>
                  <a:pt x="398" y="627"/>
                  <a:pt x="384" y="647"/>
                </a:cubicBezTo>
                <a:cubicBezTo>
                  <a:pt x="374" y="661"/>
                  <a:pt x="374" y="667"/>
                  <a:pt x="369" y="686"/>
                </a:cubicBezTo>
                <a:cubicBezTo>
                  <a:pt x="368" y="689"/>
                  <a:pt x="359" y="679"/>
                  <a:pt x="359" y="678"/>
                </a:cubicBezTo>
                <a:cubicBezTo>
                  <a:pt x="353" y="668"/>
                  <a:pt x="355" y="655"/>
                  <a:pt x="363" y="646"/>
                </a:cubicBezTo>
                <a:cubicBezTo>
                  <a:pt x="358" y="652"/>
                  <a:pt x="347" y="642"/>
                  <a:pt x="345" y="641"/>
                </a:cubicBezTo>
                <a:cubicBezTo>
                  <a:pt x="333" y="636"/>
                  <a:pt x="323" y="641"/>
                  <a:pt x="326" y="656"/>
                </a:cubicBezTo>
                <a:cubicBezTo>
                  <a:pt x="336" y="654"/>
                  <a:pt x="337" y="658"/>
                  <a:pt x="344" y="662"/>
                </a:cubicBezTo>
                <a:cubicBezTo>
                  <a:pt x="333" y="677"/>
                  <a:pt x="326" y="664"/>
                  <a:pt x="315" y="663"/>
                </a:cubicBezTo>
                <a:cubicBezTo>
                  <a:pt x="302" y="661"/>
                  <a:pt x="288" y="667"/>
                  <a:pt x="276" y="664"/>
                </a:cubicBezTo>
                <a:cubicBezTo>
                  <a:pt x="255" y="659"/>
                  <a:pt x="206" y="599"/>
                  <a:pt x="187" y="642"/>
                </a:cubicBezTo>
                <a:cubicBezTo>
                  <a:pt x="185" y="645"/>
                  <a:pt x="185" y="682"/>
                  <a:pt x="185" y="682"/>
                </a:cubicBezTo>
                <a:cubicBezTo>
                  <a:pt x="179" y="682"/>
                  <a:pt x="177" y="680"/>
                  <a:pt x="173" y="676"/>
                </a:cubicBezTo>
                <a:cubicBezTo>
                  <a:pt x="189" y="627"/>
                  <a:pt x="98" y="630"/>
                  <a:pt x="75" y="608"/>
                </a:cubicBezTo>
                <a:cubicBezTo>
                  <a:pt x="78" y="602"/>
                  <a:pt x="79" y="601"/>
                  <a:pt x="85" y="600"/>
                </a:cubicBezTo>
                <a:cubicBezTo>
                  <a:pt x="100" y="610"/>
                  <a:pt x="101" y="587"/>
                  <a:pt x="95" y="578"/>
                </a:cubicBezTo>
                <a:cubicBezTo>
                  <a:pt x="88" y="568"/>
                  <a:pt x="73" y="567"/>
                  <a:pt x="62" y="566"/>
                </a:cubicBezTo>
                <a:cubicBezTo>
                  <a:pt x="54" y="550"/>
                  <a:pt x="40" y="538"/>
                  <a:pt x="26" y="526"/>
                </a:cubicBezTo>
                <a:cubicBezTo>
                  <a:pt x="25" y="527"/>
                  <a:pt x="24" y="527"/>
                  <a:pt x="23" y="528"/>
                </a:cubicBezTo>
                <a:cubicBezTo>
                  <a:pt x="13" y="535"/>
                  <a:pt x="0" y="566"/>
                  <a:pt x="1" y="578"/>
                </a:cubicBezTo>
                <a:cubicBezTo>
                  <a:pt x="2" y="597"/>
                  <a:pt x="23" y="607"/>
                  <a:pt x="35" y="621"/>
                </a:cubicBezTo>
                <a:cubicBezTo>
                  <a:pt x="49" y="637"/>
                  <a:pt x="43" y="655"/>
                  <a:pt x="56" y="670"/>
                </a:cubicBezTo>
                <a:cubicBezTo>
                  <a:pt x="68" y="683"/>
                  <a:pt x="76" y="704"/>
                  <a:pt x="88" y="715"/>
                </a:cubicBezTo>
                <a:cubicBezTo>
                  <a:pt x="97" y="723"/>
                  <a:pt x="111" y="718"/>
                  <a:pt x="119" y="726"/>
                </a:cubicBezTo>
                <a:cubicBezTo>
                  <a:pt x="126" y="732"/>
                  <a:pt x="125" y="746"/>
                  <a:pt x="127" y="755"/>
                </a:cubicBezTo>
                <a:cubicBezTo>
                  <a:pt x="144" y="761"/>
                  <a:pt x="163" y="765"/>
                  <a:pt x="181" y="771"/>
                </a:cubicBezTo>
                <a:cubicBezTo>
                  <a:pt x="207" y="779"/>
                  <a:pt x="250" y="805"/>
                  <a:pt x="250" y="805"/>
                </a:cubicBezTo>
                <a:cubicBezTo>
                  <a:pt x="250" y="805"/>
                  <a:pt x="248" y="867"/>
                  <a:pt x="243" y="893"/>
                </a:cubicBezTo>
                <a:cubicBezTo>
                  <a:pt x="240" y="916"/>
                  <a:pt x="236" y="940"/>
                  <a:pt x="234" y="963"/>
                </a:cubicBezTo>
                <a:cubicBezTo>
                  <a:pt x="282" y="969"/>
                  <a:pt x="332" y="973"/>
                  <a:pt x="384" y="974"/>
                </a:cubicBezTo>
                <a:cubicBezTo>
                  <a:pt x="391" y="939"/>
                  <a:pt x="406" y="900"/>
                  <a:pt x="426" y="872"/>
                </a:cubicBezTo>
                <a:cubicBezTo>
                  <a:pt x="434" y="862"/>
                  <a:pt x="464" y="858"/>
                  <a:pt x="448" y="840"/>
                </a:cubicBezTo>
                <a:cubicBezTo>
                  <a:pt x="439" y="829"/>
                  <a:pt x="411" y="827"/>
                  <a:pt x="398" y="826"/>
                </a:cubicBezTo>
                <a:cubicBezTo>
                  <a:pt x="397" y="806"/>
                  <a:pt x="434" y="824"/>
                  <a:pt x="443" y="827"/>
                </a:cubicBezTo>
                <a:cubicBezTo>
                  <a:pt x="453" y="831"/>
                  <a:pt x="457" y="835"/>
                  <a:pt x="466" y="822"/>
                </a:cubicBezTo>
                <a:cubicBezTo>
                  <a:pt x="472" y="813"/>
                  <a:pt x="475" y="809"/>
                  <a:pt x="489" y="813"/>
                </a:cubicBezTo>
                <a:cubicBezTo>
                  <a:pt x="496" y="804"/>
                  <a:pt x="503" y="790"/>
                  <a:pt x="508" y="779"/>
                </a:cubicBezTo>
                <a:cubicBezTo>
                  <a:pt x="510" y="773"/>
                  <a:pt x="512" y="765"/>
                  <a:pt x="506" y="761"/>
                </a:cubicBezTo>
                <a:cubicBezTo>
                  <a:pt x="499" y="756"/>
                  <a:pt x="494" y="762"/>
                  <a:pt x="488" y="762"/>
                </a:cubicBezTo>
                <a:cubicBezTo>
                  <a:pt x="472" y="762"/>
                  <a:pt x="459" y="745"/>
                  <a:pt x="446" y="738"/>
                </a:cubicBezTo>
                <a:cubicBezTo>
                  <a:pt x="454" y="742"/>
                  <a:pt x="470" y="736"/>
                  <a:pt x="480" y="741"/>
                </a:cubicBezTo>
                <a:close/>
                <a:moveTo>
                  <a:pt x="415" y="112"/>
                </a:moveTo>
                <a:cubicBezTo>
                  <a:pt x="420" y="116"/>
                  <a:pt x="434" y="108"/>
                  <a:pt x="441" y="105"/>
                </a:cubicBezTo>
                <a:cubicBezTo>
                  <a:pt x="438" y="115"/>
                  <a:pt x="431" y="131"/>
                  <a:pt x="446" y="132"/>
                </a:cubicBezTo>
                <a:cubicBezTo>
                  <a:pt x="453" y="133"/>
                  <a:pt x="466" y="124"/>
                  <a:pt x="472" y="120"/>
                </a:cubicBezTo>
                <a:cubicBezTo>
                  <a:pt x="476" y="117"/>
                  <a:pt x="490" y="100"/>
                  <a:pt x="492" y="112"/>
                </a:cubicBezTo>
                <a:cubicBezTo>
                  <a:pt x="494" y="124"/>
                  <a:pt x="472" y="126"/>
                  <a:pt x="470" y="134"/>
                </a:cubicBezTo>
                <a:cubicBezTo>
                  <a:pt x="468" y="141"/>
                  <a:pt x="482" y="155"/>
                  <a:pt x="483" y="165"/>
                </a:cubicBezTo>
                <a:cubicBezTo>
                  <a:pt x="469" y="161"/>
                  <a:pt x="466" y="148"/>
                  <a:pt x="454" y="145"/>
                </a:cubicBezTo>
                <a:cubicBezTo>
                  <a:pt x="436" y="140"/>
                  <a:pt x="440" y="156"/>
                  <a:pt x="448" y="165"/>
                </a:cubicBezTo>
                <a:cubicBezTo>
                  <a:pt x="451" y="169"/>
                  <a:pt x="456" y="171"/>
                  <a:pt x="459" y="176"/>
                </a:cubicBezTo>
                <a:cubicBezTo>
                  <a:pt x="462" y="182"/>
                  <a:pt x="460" y="187"/>
                  <a:pt x="466" y="192"/>
                </a:cubicBezTo>
                <a:cubicBezTo>
                  <a:pt x="470" y="195"/>
                  <a:pt x="481" y="192"/>
                  <a:pt x="481" y="199"/>
                </a:cubicBezTo>
                <a:cubicBezTo>
                  <a:pt x="481" y="207"/>
                  <a:pt x="471" y="205"/>
                  <a:pt x="467" y="206"/>
                </a:cubicBezTo>
                <a:cubicBezTo>
                  <a:pt x="449" y="208"/>
                  <a:pt x="441" y="215"/>
                  <a:pt x="441" y="235"/>
                </a:cubicBezTo>
                <a:cubicBezTo>
                  <a:pt x="446" y="241"/>
                  <a:pt x="449" y="236"/>
                  <a:pt x="455" y="238"/>
                </a:cubicBezTo>
                <a:cubicBezTo>
                  <a:pt x="464" y="241"/>
                  <a:pt x="457" y="240"/>
                  <a:pt x="462" y="247"/>
                </a:cubicBezTo>
                <a:cubicBezTo>
                  <a:pt x="470" y="256"/>
                  <a:pt x="471" y="245"/>
                  <a:pt x="478" y="248"/>
                </a:cubicBezTo>
                <a:cubicBezTo>
                  <a:pt x="489" y="253"/>
                  <a:pt x="479" y="260"/>
                  <a:pt x="471" y="260"/>
                </a:cubicBezTo>
                <a:cubicBezTo>
                  <a:pt x="463" y="260"/>
                  <a:pt x="462" y="257"/>
                  <a:pt x="456" y="253"/>
                </a:cubicBezTo>
                <a:cubicBezTo>
                  <a:pt x="456" y="252"/>
                  <a:pt x="456" y="250"/>
                  <a:pt x="456" y="249"/>
                </a:cubicBezTo>
                <a:cubicBezTo>
                  <a:pt x="443" y="244"/>
                  <a:pt x="442" y="255"/>
                  <a:pt x="439" y="264"/>
                </a:cubicBezTo>
                <a:cubicBezTo>
                  <a:pt x="463" y="274"/>
                  <a:pt x="420" y="287"/>
                  <a:pt x="439" y="306"/>
                </a:cubicBezTo>
                <a:cubicBezTo>
                  <a:pt x="447" y="306"/>
                  <a:pt x="457" y="305"/>
                  <a:pt x="464" y="306"/>
                </a:cubicBezTo>
                <a:cubicBezTo>
                  <a:pt x="471" y="306"/>
                  <a:pt x="475" y="311"/>
                  <a:pt x="480" y="300"/>
                </a:cubicBezTo>
                <a:cubicBezTo>
                  <a:pt x="490" y="304"/>
                  <a:pt x="500" y="294"/>
                  <a:pt x="512" y="293"/>
                </a:cubicBezTo>
                <a:cubicBezTo>
                  <a:pt x="512" y="298"/>
                  <a:pt x="512" y="303"/>
                  <a:pt x="514" y="307"/>
                </a:cubicBezTo>
                <a:cubicBezTo>
                  <a:pt x="521" y="301"/>
                  <a:pt x="555" y="272"/>
                  <a:pt x="533" y="266"/>
                </a:cubicBezTo>
                <a:cubicBezTo>
                  <a:pt x="530" y="271"/>
                  <a:pt x="527" y="273"/>
                  <a:pt x="522" y="273"/>
                </a:cubicBezTo>
                <a:cubicBezTo>
                  <a:pt x="522" y="271"/>
                  <a:pt x="522" y="270"/>
                  <a:pt x="523" y="268"/>
                </a:cubicBezTo>
                <a:cubicBezTo>
                  <a:pt x="514" y="262"/>
                  <a:pt x="499" y="269"/>
                  <a:pt x="496" y="254"/>
                </a:cubicBezTo>
                <a:cubicBezTo>
                  <a:pt x="506" y="254"/>
                  <a:pt x="512" y="262"/>
                  <a:pt x="523" y="254"/>
                </a:cubicBezTo>
                <a:cubicBezTo>
                  <a:pt x="533" y="245"/>
                  <a:pt x="522" y="240"/>
                  <a:pt x="526" y="228"/>
                </a:cubicBezTo>
                <a:cubicBezTo>
                  <a:pt x="532" y="227"/>
                  <a:pt x="550" y="219"/>
                  <a:pt x="534" y="218"/>
                </a:cubicBezTo>
                <a:cubicBezTo>
                  <a:pt x="533" y="208"/>
                  <a:pt x="546" y="215"/>
                  <a:pt x="544" y="203"/>
                </a:cubicBezTo>
                <a:cubicBezTo>
                  <a:pt x="541" y="203"/>
                  <a:pt x="538" y="201"/>
                  <a:pt x="535" y="202"/>
                </a:cubicBezTo>
                <a:cubicBezTo>
                  <a:pt x="540" y="195"/>
                  <a:pt x="543" y="190"/>
                  <a:pt x="533" y="184"/>
                </a:cubicBezTo>
                <a:cubicBezTo>
                  <a:pt x="529" y="184"/>
                  <a:pt x="526" y="183"/>
                  <a:pt x="523" y="182"/>
                </a:cubicBezTo>
                <a:cubicBezTo>
                  <a:pt x="523" y="179"/>
                  <a:pt x="522" y="180"/>
                  <a:pt x="521" y="179"/>
                </a:cubicBezTo>
                <a:cubicBezTo>
                  <a:pt x="521" y="174"/>
                  <a:pt x="518" y="173"/>
                  <a:pt x="513" y="174"/>
                </a:cubicBezTo>
                <a:cubicBezTo>
                  <a:pt x="517" y="168"/>
                  <a:pt x="523" y="169"/>
                  <a:pt x="527" y="165"/>
                </a:cubicBezTo>
                <a:cubicBezTo>
                  <a:pt x="530" y="163"/>
                  <a:pt x="533" y="151"/>
                  <a:pt x="534" y="147"/>
                </a:cubicBezTo>
                <a:cubicBezTo>
                  <a:pt x="534" y="148"/>
                  <a:pt x="550" y="143"/>
                  <a:pt x="551" y="142"/>
                </a:cubicBezTo>
                <a:cubicBezTo>
                  <a:pt x="557" y="136"/>
                  <a:pt x="554" y="124"/>
                  <a:pt x="546" y="122"/>
                </a:cubicBezTo>
                <a:cubicBezTo>
                  <a:pt x="550" y="114"/>
                  <a:pt x="554" y="111"/>
                  <a:pt x="556" y="102"/>
                </a:cubicBezTo>
                <a:cubicBezTo>
                  <a:pt x="557" y="95"/>
                  <a:pt x="558" y="88"/>
                  <a:pt x="561" y="80"/>
                </a:cubicBezTo>
                <a:cubicBezTo>
                  <a:pt x="561" y="80"/>
                  <a:pt x="562" y="80"/>
                  <a:pt x="562" y="81"/>
                </a:cubicBezTo>
                <a:cubicBezTo>
                  <a:pt x="564" y="77"/>
                  <a:pt x="564" y="58"/>
                  <a:pt x="564" y="54"/>
                </a:cubicBezTo>
                <a:cubicBezTo>
                  <a:pt x="553" y="56"/>
                  <a:pt x="553" y="74"/>
                  <a:pt x="543" y="78"/>
                </a:cubicBezTo>
                <a:cubicBezTo>
                  <a:pt x="542" y="68"/>
                  <a:pt x="543" y="60"/>
                  <a:pt x="540" y="51"/>
                </a:cubicBezTo>
                <a:cubicBezTo>
                  <a:pt x="543" y="51"/>
                  <a:pt x="545" y="51"/>
                  <a:pt x="549" y="53"/>
                </a:cubicBezTo>
                <a:cubicBezTo>
                  <a:pt x="558" y="42"/>
                  <a:pt x="567" y="22"/>
                  <a:pt x="553" y="10"/>
                </a:cubicBezTo>
                <a:cubicBezTo>
                  <a:pt x="542" y="1"/>
                  <a:pt x="529" y="18"/>
                  <a:pt x="521" y="11"/>
                </a:cubicBezTo>
                <a:cubicBezTo>
                  <a:pt x="516" y="7"/>
                  <a:pt x="523" y="5"/>
                  <a:pt x="515" y="1"/>
                </a:cubicBezTo>
                <a:cubicBezTo>
                  <a:pt x="510" y="0"/>
                  <a:pt x="506" y="2"/>
                  <a:pt x="502" y="4"/>
                </a:cubicBezTo>
                <a:cubicBezTo>
                  <a:pt x="497" y="6"/>
                  <a:pt x="484" y="10"/>
                  <a:pt x="480" y="13"/>
                </a:cubicBezTo>
                <a:cubicBezTo>
                  <a:pt x="475" y="17"/>
                  <a:pt x="477" y="18"/>
                  <a:pt x="475" y="24"/>
                </a:cubicBezTo>
                <a:cubicBezTo>
                  <a:pt x="472" y="29"/>
                  <a:pt x="466" y="31"/>
                  <a:pt x="461" y="29"/>
                </a:cubicBezTo>
                <a:cubicBezTo>
                  <a:pt x="456" y="35"/>
                  <a:pt x="455" y="39"/>
                  <a:pt x="452" y="46"/>
                </a:cubicBezTo>
                <a:cubicBezTo>
                  <a:pt x="447" y="56"/>
                  <a:pt x="446" y="56"/>
                  <a:pt x="435" y="51"/>
                </a:cubicBezTo>
                <a:cubicBezTo>
                  <a:pt x="433" y="52"/>
                  <a:pt x="431" y="56"/>
                  <a:pt x="430" y="58"/>
                </a:cubicBezTo>
                <a:cubicBezTo>
                  <a:pt x="432" y="61"/>
                  <a:pt x="434" y="65"/>
                  <a:pt x="436" y="68"/>
                </a:cubicBezTo>
                <a:cubicBezTo>
                  <a:pt x="435" y="69"/>
                  <a:pt x="434" y="70"/>
                  <a:pt x="433" y="71"/>
                </a:cubicBezTo>
                <a:cubicBezTo>
                  <a:pt x="424" y="66"/>
                  <a:pt x="424" y="72"/>
                  <a:pt x="418" y="76"/>
                </a:cubicBezTo>
                <a:cubicBezTo>
                  <a:pt x="413" y="79"/>
                  <a:pt x="407" y="79"/>
                  <a:pt x="402" y="83"/>
                </a:cubicBezTo>
                <a:cubicBezTo>
                  <a:pt x="401" y="84"/>
                  <a:pt x="401" y="88"/>
                  <a:pt x="401" y="89"/>
                </a:cubicBezTo>
                <a:cubicBezTo>
                  <a:pt x="415" y="89"/>
                  <a:pt x="406" y="106"/>
                  <a:pt x="415" y="112"/>
                </a:cubicBezTo>
                <a:close/>
                <a:moveTo>
                  <a:pt x="459" y="386"/>
                </a:moveTo>
                <a:cubicBezTo>
                  <a:pt x="466" y="388"/>
                  <a:pt x="476" y="385"/>
                  <a:pt x="483" y="384"/>
                </a:cubicBezTo>
                <a:cubicBezTo>
                  <a:pt x="493" y="382"/>
                  <a:pt x="500" y="373"/>
                  <a:pt x="510" y="372"/>
                </a:cubicBezTo>
                <a:cubicBezTo>
                  <a:pt x="516" y="371"/>
                  <a:pt x="518" y="378"/>
                  <a:pt x="526" y="374"/>
                </a:cubicBezTo>
                <a:cubicBezTo>
                  <a:pt x="536" y="370"/>
                  <a:pt x="537" y="357"/>
                  <a:pt x="533" y="348"/>
                </a:cubicBezTo>
                <a:cubicBezTo>
                  <a:pt x="531" y="343"/>
                  <a:pt x="538" y="338"/>
                  <a:pt x="532" y="331"/>
                </a:cubicBezTo>
                <a:cubicBezTo>
                  <a:pt x="527" y="326"/>
                  <a:pt x="522" y="327"/>
                  <a:pt x="516" y="326"/>
                </a:cubicBezTo>
                <a:cubicBezTo>
                  <a:pt x="508" y="325"/>
                  <a:pt x="497" y="326"/>
                  <a:pt x="490" y="329"/>
                </a:cubicBezTo>
                <a:cubicBezTo>
                  <a:pt x="486" y="331"/>
                  <a:pt x="484" y="335"/>
                  <a:pt x="481" y="336"/>
                </a:cubicBezTo>
                <a:cubicBezTo>
                  <a:pt x="479" y="336"/>
                  <a:pt x="474" y="336"/>
                  <a:pt x="473" y="336"/>
                </a:cubicBezTo>
                <a:cubicBezTo>
                  <a:pt x="464" y="340"/>
                  <a:pt x="464" y="344"/>
                  <a:pt x="454" y="344"/>
                </a:cubicBezTo>
                <a:cubicBezTo>
                  <a:pt x="439" y="345"/>
                  <a:pt x="445" y="338"/>
                  <a:pt x="437" y="333"/>
                </a:cubicBezTo>
                <a:cubicBezTo>
                  <a:pt x="429" y="328"/>
                  <a:pt x="420" y="338"/>
                  <a:pt x="419" y="326"/>
                </a:cubicBezTo>
                <a:cubicBezTo>
                  <a:pt x="418" y="318"/>
                  <a:pt x="428" y="316"/>
                  <a:pt x="426" y="309"/>
                </a:cubicBezTo>
                <a:cubicBezTo>
                  <a:pt x="426" y="310"/>
                  <a:pt x="412" y="300"/>
                  <a:pt x="413" y="300"/>
                </a:cubicBezTo>
                <a:cubicBezTo>
                  <a:pt x="406" y="298"/>
                  <a:pt x="401" y="304"/>
                  <a:pt x="394" y="304"/>
                </a:cubicBezTo>
                <a:cubicBezTo>
                  <a:pt x="394" y="298"/>
                  <a:pt x="394" y="296"/>
                  <a:pt x="388" y="295"/>
                </a:cubicBezTo>
                <a:cubicBezTo>
                  <a:pt x="385" y="294"/>
                  <a:pt x="385" y="294"/>
                  <a:pt x="385" y="294"/>
                </a:cubicBezTo>
                <a:cubicBezTo>
                  <a:pt x="374" y="284"/>
                  <a:pt x="361" y="282"/>
                  <a:pt x="363" y="300"/>
                </a:cubicBezTo>
                <a:cubicBezTo>
                  <a:pt x="370" y="305"/>
                  <a:pt x="378" y="314"/>
                  <a:pt x="386" y="317"/>
                </a:cubicBezTo>
                <a:cubicBezTo>
                  <a:pt x="393" y="318"/>
                  <a:pt x="396" y="313"/>
                  <a:pt x="401" y="319"/>
                </a:cubicBezTo>
                <a:cubicBezTo>
                  <a:pt x="413" y="335"/>
                  <a:pt x="402" y="377"/>
                  <a:pt x="423" y="385"/>
                </a:cubicBezTo>
                <a:cubicBezTo>
                  <a:pt x="435" y="389"/>
                  <a:pt x="437" y="381"/>
                  <a:pt x="445" y="376"/>
                </a:cubicBezTo>
                <a:cubicBezTo>
                  <a:pt x="451" y="379"/>
                  <a:pt x="452" y="384"/>
                  <a:pt x="459" y="386"/>
                </a:cubicBezTo>
                <a:close/>
                <a:moveTo>
                  <a:pt x="392" y="199"/>
                </a:moveTo>
                <a:cubicBezTo>
                  <a:pt x="391" y="200"/>
                  <a:pt x="388" y="200"/>
                  <a:pt x="386" y="203"/>
                </a:cubicBezTo>
                <a:cubicBezTo>
                  <a:pt x="385" y="206"/>
                  <a:pt x="387" y="218"/>
                  <a:pt x="387" y="220"/>
                </a:cubicBezTo>
                <a:cubicBezTo>
                  <a:pt x="391" y="220"/>
                  <a:pt x="394" y="221"/>
                  <a:pt x="397" y="219"/>
                </a:cubicBezTo>
                <a:cubicBezTo>
                  <a:pt x="401" y="224"/>
                  <a:pt x="400" y="233"/>
                  <a:pt x="407" y="235"/>
                </a:cubicBezTo>
                <a:cubicBezTo>
                  <a:pt x="413" y="237"/>
                  <a:pt x="422" y="231"/>
                  <a:pt x="425" y="227"/>
                </a:cubicBezTo>
                <a:cubicBezTo>
                  <a:pt x="433" y="217"/>
                  <a:pt x="456" y="195"/>
                  <a:pt x="453" y="181"/>
                </a:cubicBezTo>
                <a:cubicBezTo>
                  <a:pt x="452" y="174"/>
                  <a:pt x="441" y="168"/>
                  <a:pt x="436" y="164"/>
                </a:cubicBezTo>
                <a:cubicBezTo>
                  <a:pt x="431" y="161"/>
                  <a:pt x="424" y="158"/>
                  <a:pt x="420" y="154"/>
                </a:cubicBezTo>
                <a:cubicBezTo>
                  <a:pt x="412" y="146"/>
                  <a:pt x="402" y="97"/>
                  <a:pt x="385" y="106"/>
                </a:cubicBezTo>
                <a:cubicBezTo>
                  <a:pt x="390" y="105"/>
                  <a:pt x="390" y="105"/>
                  <a:pt x="390" y="105"/>
                </a:cubicBezTo>
                <a:cubicBezTo>
                  <a:pt x="384" y="110"/>
                  <a:pt x="376" y="121"/>
                  <a:pt x="377" y="129"/>
                </a:cubicBezTo>
                <a:cubicBezTo>
                  <a:pt x="377" y="141"/>
                  <a:pt x="387" y="146"/>
                  <a:pt x="379" y="159"/>
                </a:cubicBezTo>
                <a:cubicBezTo>
                  <a:pt x="358" y="156"/>
                  <a:pt x="372" y="175"/>
                  <a:pt x="374" y="187"/>
                </a:cubicBezTo>
                <a:cubicBezTo>
                  <a:pt x="385" y="190"/>
                  <a:pt x="406" y="179"/>
                  <a:pt x="392" y="199"/>
                </a:cubicBezTo>
                <a:close/>
                <a:moveTo>
                  <a:pt x="411" y="461"/>
                </a:moveTo>
                <a:cubicBezTo>
                  <a:pt x="419" y="458"/>
                  <a:pt x="436" y="419"/>
                  <a:pt x="428" y="413"/>
                </a:cubicBezTo>
                <a:cubicBezTo>
                  <a:pt x="418" y="405"/>
                  <a:pt x="404" y="420"/>
                  <a:pt x="398" y="405"/>
                </a:cubicBezTo>
                <a:cubicBezTo>
                  <a:pt x="393" y="394"/>
                  <a:pt x="371" y="427"/>
                  <a:pt x="370" y="432"/>
                </a:cubicBezTo>
                <a:cubicBezTo>
                  <a:pt x="367" y="442"/>
                  <a:pt x="369" y="458"/>
                  <a:pt x="370" y="468"/>
                </a:cubicBezTo>
                <a:cubicBezTo>
                  <a:pt x="382" y="469"/>
                  <a:pt x="376" y="489"/>
                  <a:pt x="385" y="495"/>
                </a:cubicBezTo>
                <a:cubicBezTo>
                  <a:pt x="396" y="486"/>
                  <a:pt x="388" y="477"/>
                  <a:pt x="392" y="466"/>
                </a:cubicBezTo>
                <a:cubicBezTo>
                  <a:pt x="396" y="453"/>
                  <a:pt x="401" y="465"/>
                  <a:pt x="411" y="461"/>
                </a:cubicBezTo>
                <a:close/>
                <a:moveTo>
                  <a:pt x="423" y="261"/>
                </a:moveTo>
                <a:cubicBezTo>
                  <a:pt x="423" y="264"/>
                  <a:pt x="423" y="264"/>
                  <a:pt x="423" y="264"/>
                </a:cubicBezTo>
                <a:cubicBezTo>
                  <a:pt x="417" y="262"/>
                  <a:pt x="413" y="266"/>
                  <a:pt x="412" y="271"/>
                </a:cubicBezTo>
                <a:cubicBezTo>
                  <a:pt x="417" y="273"/>
                  <a:pt x="422" y="274"/>
                  <a:pt x="427" y="274"/>
                </a:cubicBezTo>
                <a:cubicBezTo>
                  <a:pt x="429" y="269"/>
                  <a:pt x="427" y="264"/>
                  <a:pt x="423" y="261"/>
                </a:cubicBezTo>
                <a:close/>
                <a:moveTo>
                  <a:pt x="392" y="270"/>
                </a:moveTo>
                <a:cubicBezTo>
                  <a:pt x="404" y="262"/>
                  <a:pt x="388" y="253"/>
                  <a:pt x="380" y="255"/>
                </a:cubicBezTo>
                <a:cubicBezTo>
                  <a:pt x="373" y="255"/>
                  <a:pt x="365" y="257"/>
                  <a:pt x="367" y="264"/>
                </a:cubicBezTo>
                <a:cubicBezTo>
                  <a:pt x="373" y="264"/>
                  <a:pt x="376" y="266"/>
                  <a:pt x="380" y="267"/>
                </a:cubicBezTo>
                <a:cubicBezTo>
                  <a:pt x="384" y="268"/>
                  <a:pt x="387" y="273"/>
                  <a:pt x="392" y="270"/>
                </a:cubicBezTo>
                <a:close/>
                <a:moveTo>
                  <a:pt x="379" y="380"/>
                </a:moveTo>
                <a:cubicBezTo>
                  <a:pt x="393" y="380"/>
                  <a:pt x="398" y="360"/>
                  <a:pt x="388" y="352"/>
                </a:cubicBezTo>
                <a:cubicBezTo>
                  <a:pt x="372" y="338"/>
                  <a:pt x="355" y="379"/>
                  <a:pt x="379" y="380"/>
                </a:cubicBezTo>
                <a:close/>
                <a:moveTo>
                  <a:pt x="358" y="235"/>
                </a:moveTo>
                <a:cubicBezTo>
                  <a:pt x="359" y="243"/>
                  <a:pt x="352" y="246"/>
                  <a:pt x="360" y="254"/>
                </a:cubicBezTo>
                <a:cubicBezTo>
                  <a:pt x="364" y="253"/>
                  <a:pt x="367" y="249"/>
                  <a:pt x="369" y="245"/>
                </a:cubicBezTo>
                <a:cubicBezTo>
                  <a:pt x="373" y="247"/>
                  <a:pt x="375" y="246"/>
                  <a:pt x="379" y="245"/>
                </a:cubicBezTo>
                <a:cubicBezTo>
                  <a:pt x="379" y="235"/>
                  <a:pt x="368" y="202"/>
                  <a:pt x="353" y="213"/>
                </a:cubicBezTo>
                <a:cubicBezTo>
                  <a:pt x="353" y="213"/>
                  <a:pt x="353" y="213"/>
                  <a:pt x="353" y="213"/>
                </a:cubicBezTo>
                <a:cubicBezTo>
                  <a:pt x="346" y="221"/>
                  <a:pt x="356" y="228"/>
                  <a:pt x="358" y="235"/>
                </a:cubicBezTo>
                <a:close/>
                <a:moveTo>
                  <a:pt x="350" y="592"/>
                </a:moveTo>
                <a:cubicBezTo>
                  <a:pt x="346" y="587"/>
                  <a:pt x="339" y="572"/>
                  <a:pt x="332" y="584"/>
                </a:cubicBezTo>
                <a:cubicBezTo>
                  <a:pt x="328" y="587"/>
                  <a:pt x="328" y="596"/>
                  <a:pt x="329" y="601"/>
                </a:cubicBezTo>
                <a:cubicBezTo>
                  <a:pt x="313" y="603"/>
                  <a:pt x="312" y="616"/>
                  <a:pt x="323" y="624"/>
                </a:cubicBezTo>
                <a:cubicBezTo>
                  <a:pt x="331" y="629"/>
                  <a:pt x="348" y="634"/>
                  <a:pt x="357" y="633"/>
                </a:cubicBezTo>
                <a:cubicBezTo>
                  <a:pt x="366" y="631"/>
                  <a:pt x="371" y="624"/>
                  <a:pt x="365" y="616"/>
                </a:cubicBezTo>
                <a:cubicBezTo>
                  <a:pt x="368" y="608"/>
                  <a:pt x="354" y="599"/>
                  <a:pt x="350" y="592"/>
                </a:cubicBezTo>
                <a:close/>
                <a:moveTo>
                  <a:pt x="333" y="516"/>
                </a:moveTo>
                <a:cubicBezTo>
                  <a:pt x="336" y="514"/>
                  <a:pt x="336" y="508"/>
                  <a:pt x="339" y="505"/>
                </a:cubicBezTo>
                <a:cubicBezTo>
                  <a:pt x="342" y="502"/>
                  <a:pt x="347" y="503"/>
                  <a:pt x="350" y="500"/>
                </a:cubicBezTo>
                <a:cubicBezTo>
                  <a:pt x="361" y="492"/>
                  <a:pt x="360" y="477"/>
                  <a:pt x="358" y="465"/>
                </a:cubicBezTo>
                <a:cubicBezTo>
                  <a:pt x="356" y="465"/>
                  <a:pt x="354" y="465"/>
                  <a:pt x="353" y="465"/>
                </a:cubicBezTo>
                <a:cubicBezTo>
                  <a:pt x="355" y="455"/>
                  <a:pt x="347" y="452"/>
                  <a:pt x="340" y="449"/>
                </a:cubicBezTo>
                <a:cubicBezTo>
                  <a:pt x="340" y="437"/>
                  <a:pt x="356" y="431"/>
                  <a:pt x="351" y="417"/>
                </a:cubicBezTo>
                <a:cubicBezTo>
                  <a:pt x="343" y="415"/>
                  <a:pt x="340" y="422"/>
                  <a:pt x="334" y="421"/>
                </a:cubicBezTo>
                <a:cubicBezTo>
                  <a:pt x="328" y="420"/>
                  <a:pt x="326" y="411"/>
                  <a:pt x="321" y="414"/>
                </a:cubicBezTo>
                <a:cubicBezTo>
                  <a:pt x="314" y="412"/>
                  <a:pt x="306" y="419"/>
                  <a:pt x="305" y="426"/>
                </a:cubicBezTo>
                <a:cubicBezTo>
                  <a:pt x="310" y="429"/>
                  <a:pt x="310" y="432"/>
                  <a:pt x="304" y="434"/>
                </a:cubicBezTo>
                <a:cubicBezTo>
                  <a:pt x="306" y="433"/>
                  <a:pt x="314" y="450"/>
                  <a:pt x="312" y="454"/>
                </a:cubicBezTo>
                <a:cubicBezTo>
                  <a:pt x="305" y="466"/>
                  <a:pt x="298" y="453"/>
                  <a:pt x="297" y="445"/>
                </a:cubicBezTo>
                <a:cubicBezTo>
                  <a:pt x="280" y="465"/>
                  <a:pt x="309" y="486"/>
                  <a:pt x="317" y="504"/>
                </a:cubicBezTo>
                <a:cubicBezTo>
                  <a:pt x="321" y="515"/>
                  <a:pt x="324" y="525"/>
                  <a:pt x="333" y="516"/>
                </a:cubicBezTo>
                <a:close/>
                <a:moveTo>
                  <a:pt x="335" y="307"/>
                </a:moveTo>
                <a:cubicBezTo>
                  <a:pt x="332" y="306"/>
                  <a:pt x="329" y="301"/>
                  <a:pt x="325" y="301"/>
                </a:cubicBezTo>
                <a:cubicBezTo>
                  <a:pt x="325" y="303"/>
                  <a:pt x="325" y="303"/>
                  <a:pt x="325" y="303"/>
                </a:cubicBezTo>
                <a:cubicBezTo>
                  <a:pt x="319" y="312"/>
                  <a:pt x="330" y="319"/>
                  <a:pt x="329" y="329"/>
                </a:cubicBezTo>
                <a:cubicBezTo>
                  <a:pt x="320" y="330"/>
                  <a:pt x="318" y="315"/>
                  <a:pt x="313" y="310"/>
                </a:cubicBezTo>
                <a:cubicBezTo>
                  <a:pt x="313" y="316"/>
                  <a:pt x="313" y="322"/>
                  <a:pt x="311" y="328"/>
                </a:cubicBezTo>
                <a:cubicBezTo>
                  <a:pt x="309" y="332"/>
                  <a:pt x="301" y="338"/>
                  <a:pt x="301" y="342"/>
                </a:cubicBezTo>
                <a:cubicBezTo>
                  <a:pt x="300" y="357"/>
                  <a:pt x="322" y="335"/>
                  <a:pt x="327" y="343"/>
                </a:cubicBezTo>
                <a:cubicBezTo>
                  <a:pt x="330" y="349"/>
                  <a:pt x="307" y="375"/>
                  <a:pt x="334" y="372"/>
                </a:cubicBezTo>
                <a:cubicBezTo>
                  <a:pt x="349" y="371"/>
                  <a:pt x="349" y="352"/>
                  <a:pt x="351" y="340"/>
                </a:cubicBezTo>
                <a:cubicBezTo>
                  <a:pt x="353" y="333"/>
                  <a:pt x="356" y="318"/>
                  <a:pt x="352" y="312"/>
                </a:cubicBezTo>
                <a:cubicBezTo>
                  <a:pt x="349" y="306"/>
                  <a:pt x="347" y="307"/>
                  <a:pt x="343" y="306"/>
                </a:cubicBezTo>
                <a:cubicBezTo>
                  <a:pt x="342" y="305"/>
                  <a:pt x="337" y="307"/>
                  <a:pt x="335" y="307"/>
                </a:cubicBezTo>
                <a:close/>
                <a:moveTo>
                  <a:pt x="325" y="237"/>
                </a:moveTo>
                <a:cubicBezTo>
                  <a:pt x="334" y="245"/>
                  <a:pt x="335" y="259"/>
                  <a:pt x="337" y="243"/>
                </a:cubicBezTo>
                <a:cubicBezTo>
                  <a:pt x="338" y="233"/>
                  <a:pt x="338" y="215"/>
                  <a:pt x="334" y="205"/>
                </a:cubicBezTo>
                <a:cubicBezTo>
                  <a:pt x="329" y="195"/>
                  <a:pt x="318" y="187"/>
                  <a:pt x="307" y="188"/>
                </a:cubicBezTo>
                <a:cubicBezTo>
                  <a:pt x="302" y="186"/>
                  <a:pt x="302" y="186"/>
                  <a:pt x="302" y="186"/>
                </a:cubicBezTo>
                <a:cubicBezTo>
                  <a:pt x="303" y="186"/>
                  <a:pt x="303" y="185"/>
                  <a:pt x="301" y="185"/>
                </a:cubicBezTo>
                <a:cubicBezTo>
                  <a:pt x="295" y="194"/>
                  <a:pt x="291" y="212"/>
                  <a:pt x="298" y="222"/>
                </a:cubicBezTo>
                <a:cubicBezTo>
                  <a:pt x="304" y="231"/>
                  <a:pt x="317" y="230"/>
                  <a:pt x="325" y="237"/>
                </a:cubicBezTo>
                <a:close/>
                <a:moveTo>
                  <a:pt x="114" y="590"/>
                </a:moveTo>
                <a:cubicBezTo>
                  <a:pt x="113" y="593"/>
                  <a:pt x="114" y="595"/>
                  <a:pt x="116" y="598"/>
                </a:cubicBezTo>
                <a:cubicBezTo>
                  <a:pt x="134" y="600"/>
                  <a:pt x="152" y="609"/>
                  <a:pt x="170" y="603"/>
                </a:cubicBezTo>
                <a:cubicBezTo>
                  <a:pt x="179" y="599"/>
                  <a:pt x="185" y="599"/>
                  <a:pt x="194" y="597"/>
                </a:cubicBezTo>
                <a:cubicBezTo>
                  <a:pt x="202" y="596"/>
                  <a:pt x="206" y="585"/>
                  <a:pt x="214" y="586"/>
                </a:cubicBezTo>
                <a:cubicBezTo>
                  <a:pt x="221" y="586"/>
                  <a:pt x="232" y="599"/>
                  <a:pt x="240" y="603"/>
                </a:cubicBezTo>
                <a:cubicBezTo>
                  <a:pt x="240" y="603"/>
                  <a:pt x="239" y="605"/>
                  <a:pt x="239" y="605"/>
                </a:cubicBezTo>
                <a:cubicBezTo>
                  <a:pt x="251" y="613"/>
                  <a:pt x="263" y="607"/>
                  <a:pt x="274" y="613"/>
                </a:cubicBezTo>
                <a:cubicBezTo>
                  <a:pt x="277" y="606"/>
                  <a:pt x="277" y="599"/>
                  <a:pt x="280" y="593"/>
                </a:cubicBezTo>
                <a:cubicBezTo>
                  <a:pt x="271" y="594"/>
                  <a:pt x="265" y="588"/>
                  <a:pt x="268" y="580"/>
                </a:cubicBezTo>
                <a:cubicBezTo>
                  <a:pt x="276" y="581"/>
                  <a:pt x="296" y="585"/>
                  <a:pt x="300" y="576"/>
                </a:cubicBezTo>
                <a:cubicBezTo>
                  <a:pt x="307" y="561"/>
                  <a:pt x="281" y="552"/>
                  <a:pt x="274" y="543"/>
                </a:cubicBezTo>
                <a:cubicBezTo>
                  <a:pt x="262" y="529"/>
                  <a:pt x="264" y="521"/>
                  <a:pt x="262" y="505"/>
                </a:cubicBezTo>
                <a:cubicBezTo>
                  <a:pt x="260" y="494"/>
                  <a:pt x="255" y="486"/>
                  <a:pt x="254" y="475"/>
                </a:cubicBezTo>
                <a:cubicBezTo>
                  <a:pt x="254" y="466"/>
                  <a:pt x="256" y="457"/>
                  <a:pt x="255" y="448"/>
                </a:cubicBezTo>
                <a:cubicBezTo>
                  <a:pt x="245" y="438"/>
                  <a:pt x="228" y="410"/>
                  <a:pt x="224" y="440"/>
                </a:cubicBezTo>
                <a:cubicBezTo>
                  <a:pt x="223" y="446"/>
                  <a:pt x="226" y="495"/>
                  <a:pt x="213" y="491"/>
                </a:cubicBezTo>
                <a:cubicBezTo>
                  <a:pt x="201" y="487"/>
                  <a:pt x="217" y="443"/>
                  <a:pt x="207" y="439"/>
                </a:cubicBezTo>
                <a:cubicBezTo>
                  <a:pt x="204" y="438"/>
                  <a:pt x="201" y="439"/>
                  <a:pt x="197" y="441"/>
                </a:cubicBezTo>
                <a:cubicBezTo>
                  <a:pt x="182" y="502"/>
                  <a:pt x="171" y="546"/>
                  <a:pt x="171" y="546"/>
                </a:cubicBezTo>
                <a:cubicBezTo>
                  <a:pt x="171" y="546"/>
                  <a:pt x="112" y="538"/>
                  <a:pt x="80" y="525"/>
                </a:cubicBezTo>
                <a:cubicBezTo>
                  <a:pt x="77" y="534"/>
                  <a:pt x="84" y="550"/>
                  <a:pt x="88" y="561"/>
                </a:cubicBezTo>
                <a:cubicBezTo>
                  <a:pt x="104" y="558"/>
                  <a:pt x="116" y="577"/>
                  <a:pt x="114" y="590"/>
                </a:cubicBezTo>
                <a:close/>
                <a:moveTo>
                  <a:pt x="237" y="358"/>
                </a:moveTo>
                <a:cubicBezTo>
                  <a:pt x="248" y="359"/>
                  <a:pt x="258" y="359"/>
                  <a:pt x="266" y="352"/>
                </a:cubicBezTo>
                <a:cubicBezTo>
                  <a:pt x="272" y="346"/>
                  <a:pt x="282" y="330"/>
                  <a:pt x="276" y="322"/>
                </a:cubicBezTo>
                <a:cubicBezTo>
                  <a:pt x="271" y="314"/>
                  <a:pt x="257" y="317"/>
                  <a:pt x="250" y="310"/>
                </a:cubicBezTo>
                <a:cubicBezTo>
                  <a:pt x="249" y="310"/>
                  <a:pt x="248" y="310"/>
                  <a:pt x="247" y="310"/>
                </a:cubicBezTo>
                <a:cubicBezTo>
                  <a:pt x="246" y="304"/>
                  <a:pt x="250" y="287"/>
                  <a:pt x="246" y="283"/>
                </a:cubicBezTo>
                <a:cubicBezTo>
                  <a:pt x="230" y="268"/>
                  <a:pt x="235" y="329"/>
                  <a:pt x="235" y="329"/>
                </a:cubicBezTo>
                <a:cubicBezTo>
                  <a:pt x="232" y="331"/>
                  <a:pt x="228" y="331"/>
                  <a:pt x="225" y="329"/>
                </a:cubicBezTo>
                <a:cubicBezTo>
                  <a:pt x="222" y="338"/>
                  <a:pt x="220" y="348"/>
                  <a:pt x="218" y="357"/>
                </a:cubicBezTo>
                <a:cubicBezTo>
                  <a:pt x="224" y="356"/>
                  <a:pt x="229" y="357"/>
                  <a:pt x="237" y="358"/>
                </a:cubicBezTo>
                <a:close/>
                <a:moveTo>
                  <a:pt x="245" y="416"/>
                </a:moveTo>
                <a:cubicBezTo>
                  <a:pt x="240" y="423"/>
                  <a:pt x="252" y="435"/>
                  <a:pt x="256" y="441"/>
                </a:cubicBezTo>
                <a:cubicBezTo>
                  <a:pt x="257" y="444"/>
                  <a:pt x="267" y="426"/>
                  <a:pt x="266" y="422"/>
                </a:cubicBezTo>
                <a:cubicBezTo>
                  <a:pt x="264" y="414"/>
                  <a:pt x="251" y="408"/>
                  <a:pt x="245" y="416"/>
                </a:cubicBezTo>
                <a:close/>
                <a:moveTo>
                  <a:pt x="176" y="628"/>
                </a:moveTo>
                <a:cubicBezTo>
                  <a:pt x="181" y="631"/>
                  <a:pt x="189" y="623"/>
                  <a:pt x="193" y="622"/>
                </a:cubicBezTo>
                <a:cubicBezTo>
                  <a:pt x="198" y="620"/>
                  <a:pt x="203" y="621"/>
                  <a:pt x="209" y="622"/>
                </a:cubicBezTo>
                <a:cubicBezTo>
                  <a:pt x="211" y="613"/>
                  <a:pt x="221" y="617"/>
                  <a:pt x="224" y="609"/>
                </a:cubicBezTo>
                <a:cubicBezTo>
                  <a:pt x="221" y="605"/>
                  <a:pt x="215" y="604"/>
                  <a:pt x="211" y="606"/>
                </a:cubicBezTo>
                <a:cubicBezTo>
                  <a:pt x="217" y="606"/>
                  <a:pt x="217" y="606"/>
                  <a:pt x="217" y="606"/>
                </a:cubicBezTo>
                <a:cubicBezTo>
                  <a:pt x="214" y="606"/>
                  <a:pt x="156" y="615"/>
                  <a:pt x="176" y="628"/>
                </a:cubicBezTo>
                <a:close/>
              </a:path>
            </a:pathLst>
          </a:custGeom>
          <a:solidFill>
            <a:schemeClr val="accent3"/>
          </a:solidFill>
          <a:ln w="6350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9" name="Freeform 4028">
            <a:extLst>
              <a:ext uri="{FF2B5EF4-FFF2-40B4-BE49-F238E27FC236}">
                <a16:creationId xmlns:a16="http://schemas.microsoft.com/office/drawing/2014/main" id="{D0A59A55-F93D-449A-AA67-AA58AC271DEB}"/>
              </a:ext>
            </a:extLst>
          </p:cNvPr>
          <p:cNvSpPr>
            <a:spLocks noEditPoints="1"/>
          </p:cNvSpPr>
          <p:nvPr/>
        </p:nvSpPr>
        <p:spPr bwMode="auto">
          <a:xfrm>
            <a:off x="1995270" y="1523999"/>
            <a:ext cx="2471956" cy="2675397"/>
          </a:xfrm>
          <a:custGeom>
            <a:avLst/>
            <a:gdLst/>
            <a:ahLst/>
            <a:cxnLst>
              <a:cxn ang="0">
                <a:pos x="861" y="668"/>
              </a:cxn>
              <a:cxn ang="0">
                <a:pos x="883" y="649"/>
              </a:cxn>
              <a:cxn ang="0">
                <a:pos x="795" y="558"/>
              </a:cxn>
              <a:cxn ang="0">
                <a:pos x="734" y="489"/>
              </a:cxn>
              <a:cxn ang="0">
                <a:pos x="666" y="461"/>
              </a:cxn>
              <a:cxn ang="0">
                <a:pos x="598" y="434"/>
              </a:cxn>
              <a:cxn ang="0">
                <a:pos x="509" y="419"/>
              </a:cxn>
              <a:cxn ang="0">
                <a:pos x="448" y="443"/>
              </a:cxn>
              <a:cxn ang="0">
                <a:pos x="582" y="526"/>
              </a:cxn>
              <a:cxn ang="0">
                <a:pos x="677" y="578"/>
              </a:cxn>
              <a:cxn ang="0">
                <a:pos x="702" y="719"/>
              </a:cxn>
              <a:cxn ang="0">
                <a:pos x="768" y="758"/>
              </a:cxn>
              <a:cxn ang="0">
                <a:pos x="908" y="780"/>
              </a:cxn>
              <a:cxn ang="0">
                <a:pos x="675" y="797"/>
              </a:cxn>
              <a:cxn ang="0">
                <a:pos x="647" y="611"/>
              </a:cxn>
              <a:cxn ang="0">
                <a:pos x="609" y="790"/>
              </a:cxn>
              <a:cxn ang="0">
                <a:pos x="531" y="795"/>
              </a:cxn>
              <a:cxn ang="0">
                <a:pos x="635" y="792"/>
              </a:cxn>
              <a:cxn ang="0">
                <a:pos x="607" y="836"/>
              </a:cxn>
              <a:cxn ang="0">
                <a:pos x="547" y="417"/>
              </a:cxn>
              <a:cxn ang="0">
                <a:pos x="590" y="656"/>
              </a:cxn>
              <a:cxn ang="0">
                <a:pos x="517" y="650"/>
              </a:cxn>
              <a:cxn ang="0">
                <a:pos x="399" y="510"/>
              </a:cxn>
              <a:cxn ang="0">
                <a:pos x="363" y="646"/>
              </a:cxn>
              <a:cxn ang="0">
                <a:pos x="185" y="682"/>
              </a:cxn>
              <a:cxn ang="0">
                <a:pos x="23" y="528"/>
              </a:cxn>
              <a:cxn ang="0">
                <a:pos x="181" y="771"/>
              </a:cxn>
              <a:cxn ang="0">
                <a:pos x="398" y="826"/>
              </a:cxn>
              <a:cxn ang="0">
                <a:pos x="446" y="738"/>
              </a:cxn>
              <a:cxn ang="0">
                <a:pos x="470" y="134"/>
              </a:cxn>
              <a:cxn ang="0">
                <a:pos x="467" y="206"/>
              </a:cxn>
              <a:cxn ang="0">
                <a:pos x="456" y="249"/>
              </a:cxn>
              <a:cxn ang="0">
                <a:pos x="533" y="266"/>
              </a:cxn>
              <a:cxn ang="0">
                <a:pos x="544" y="203"/>
              </a:cxn>
              <a:cxn ang="0">
                <a:pos x="534" y="147"/>
              </a:cxn>
              <a:cxn ang="0">
                <a:pos x="543" y="78"/>
              </a:cxn>
              <a:cxn ang="0">
                <a:pos x="480" y="13"/>
              </a:cxn>
              <a:cxn ang="0">
                <a:pos x="433" y="71"/>
              </a:cxn>
              <a:cxn ang="0">
                <a:pos x="510" y="372"/>
              </a:cxn>
              <a:cxn ang="0">
                <a:pos x="473" y="336"/>
              </a:cxn>
              <a:cxn ang="0">
                <a:pos x="388" y="295"/>
              </a:cxn>
              <a:cxn ang="0">
                <a:pos x="459" y="386"/>
              </a:cxn>
              <a:cxn ang="0">
                <a:pos x="453" y="181"/>
              </a:cxn>
              <a:cxn ang="0">
                <a:pos x="374" y="187"/>
              </a:cxn>
              <a:cxn ang="0">
                <a:pos x="385" y="495"/>
              </a:cxn>
              <a:cxn ang="0">
                <a:pos x="423" y="261"/>
              </a:cxn>
              <a:cxn ang="0">
                <a:pos x="388" y="352"/>
              </a:cxn>
              <a:cxn ang="0">
                <a:pos x="353" y="213"/>
              </a:cxn>
              <a:cxn ang="0">
                <a:pos x="365" y="616"/>
              </a:cxn>
              <a:cxn ang="0">
                <a:pos x="340" y="449"/>
              </a:cxn>
              <a:cxn ang="0">
                <a:pos x="297" y="445"/>
              </a:cxn>
              <a:cxn ang="0">
                <a:pos x="313" y="310"/>
              </a:cxn>
              <a:cxn ang="0">
                <a:pos x="343" y="306"/>
              </a:cxn>
              <a:cxn ang="0">
                <a:pos x="301" y="185"/>
              </a:cxn>
              <a:cxn ang="0">
                <a:pos x="214" y="586"/>
              </a:cxn>
              <a:cxn ang="0">
                <a:pos x="274" y="543"/>
              </a:cxn>
              <a:cxn ang="0">
                <a:pos x="197" y="441"/>
              </a:cxn>
              <a:cxn ang="0">
                <a:pos x="276" y="322"/>
              </a:cxn>
              <a:cxn ang="0">
                <a:pos x="237" y="358"/>
              </a:cxn>
              <a:cxn ang="0">
                <a:pos x="209" y="622"/>
              </a:cxn>
            </a:cxnLst>
            <a:rect l="0" t="0" r="r" b="b"/>
            <a:pathLst>
              <a:path w="921" h="974">
                <a:moveTo>
                  <a:pt x="830" y="732"/>
                </a:moveTo>
                <a:cubicBezTo>
                  <a:pt x="840" y="708"/>
                  <a:pt x="873" y="737"/>
                  <a:pt x="889" y="738"/>
                </a:cubicBezTo>
                <a:cubicBezTo>
                  <a:pt x="921" y="741"/>
                  <a:pt x="910" y="712"/>
                  <a:pt x="893" y="715"/>
                </a:cubicBezTo>
                <a:cubicBezTo>
                  <a:pt x="896" y="715"/>
                  <a:pt x="898" y="712"/>
                  <a:pt x="903" y="713"/>
                </a:cubicBezTo>
                <a:cubicBezTo>
                  <a:pt x="894" y="708"/>
                  <a:pt x="895" y="701"/>
                  <a:pt x="890" y="695"/>
                </a:cubicBezTo>
                <a:cubicBezTo>
                  <a:pt x="884" y="689"/>
                  <a:pt x="877" y="689"/>
                  <a:pt x="873" y="681"/>
                </a:cubicBezTo>
                <a:cubicBezTo>
                  <a:pt x="861" y="684"/>
                  <a:pt x="868" y="672"/>
                  <a:pt x="861" y="668"/>
                </a:cubicBezTo>
                <a:cubicBezTo>
                  <a:pt x="855" y="666"/>
                  <a:pt x="846" y="674"/>
                  <a:pt x="840" y="671"/>
                </a:cubicBezTo>
                <a:cubicBezTo>
                  <a:pt x="830" y="667"/>
                  <a:pt x="825" y="642"/>
                  <a:pt x="813" y="663"/>
                </a:cubicBezTo>
                <a:cubicBezTo>
                  <a:pt x="813" y="652"/>
                  <a:pt x="805" y="652"/>
                  <a:pt x="799" y="645"/>
                </a:cubicBezTo>
                <a:cubicBezTo>
                  <a:pt x="815" y="645"/>
                  <a:pt x="797" y="618"/>
                  <a:pt x="824" y="623"/>
                </a:cubicBezTo>
                <a:cubicBezTo>
                  <a:pt x="827" y="624"/>
                  <a:pt x="832" y="630"/>
                  <a:pt x="834" y="630"/>
                </a:cubicBezTo>
                <a:cubicBezTo>
                  <a:pt x="838" y="630"/>
                  <a:pt x="845" y="625"/>
                  <a:pt x="850" y="623"/>
                </a:cubicBezTo>
                <a:cubicBezTo>
                  <a:pt x="851" y="631"/>
                  <a:pt x="877" y="654"/>
                  <a:pt x="883" y="649"/>
                </a:cubicBezTo>
                <a:cubicBezTo>
                  <a:pt x="888" y="646"/>
                  <a:pt x="890" y="642"/>
                  <a:pt x="889" y="637"/>
                </a:cubicBezTo>
                <a:cubicBezTo>
                  <a:pt x="873" y="626"/>
                  <a:pt x="888" y="623"/>
                  <a:pt x="891" y="615"/>
                </a:cubicBezTo>
                <a:cubicBezTo>
                  <a:pt x="896" y="603"/>
                  <a:pt x="891" y="586"/>
                  <a:pt x="892" y="573"/>
                </a:cubicBezTo>
                <a:cubicBezTo>
                  <a:pt x="884" y="566"/>
                  <a:pt x="873" y="562"/>
                  <a:pt x="862" y="560"/>
                </a:cubicBezTo>
                <a:cubicBezTo>
                  <a:pt x="855" y="560"/>
                  <a:pt x="848" y="562"/>
                  <a:pt x="842" y="561"/>
                </a:cubicBezTo>
                <a:cubicBezTo>
                  <a:pt x="835" y="560"/>
                  <a:pt x="830" y="554"/>
                  <a:pt x="824" y="553"/>
                </a:cubicBezTo>
                <a:cubicBezTo>
                  <a:pt x="814" y="551"/>
                  <a:pt x="804" y="559"/>
                  <a:pt x="795" y="558"/>
                </a:cubicBezTo>
                <a:cubicBezTo>
                  <a:pt x="788" y="556"/>
                  <a:pt x="787" y="549"/>
                  <a:pt x="784" y="547"/>
                </a:cubicBezTo>
                <a:cubicBezTo>
                  <a:pt x="772" y="543"/>
                  <a:pt x="759" y="556"/>
                  <a:pt x="749" y="546"/>
                </a:cubicBezTo>
                <a:cubicBezTo>
                  <a:pt x="755" y="544"/>
                  <a:pt x="761" y="529"/>
                  <a:pt x="754" y="526"/>
                </a:cubicBezTo>
                <a:cubicBezTo>
                  <a:pt x="763" y="530"/>
                  <a:pt x="772" y="523"/>
                  <a:pt x="764" y="514"/>
                </a:cubicBezTo>
                <a:cubicBezTo>
                  <a:pt x="757" y="520"/>
                  <a:pt x="749" y="519"/>
                  <a:pt x="742" y="519"/>
                </a:cubicBezTo>
                <a:cubicBezTo>
                  <a:pt x="732" y="508"/>
                  <a:pt x="754" y="505"/>
                  <a:pt x="752" y="497"/>
                </a:cubicBezTo>
                <a:cubicBezTo>
                  <a:pt x="751" y="492"/>
                  <a:pt x="739" y="495"/>
                  <a:pt x="734" y="489"/>
                </a:cubicBezTo>
                <a:cubicBezTo>
                  <a:pt x="732" y="502"/>
                  <a:pt x="726" y="502"/>
                  <a:pt x="715" y="503"/>
                </a:cubicBezTo>
                <a:cubicBezTo>
                  <a:pt x="714" y="495"/>
                  <a:pt x="726" y="489"/>
                  <a:pt x="722" y="482"/>
                </a:cubicBezTo>
                <a:cubicBezTo>
                  <a:pt x="717" y="473"/>
                  <a:pt x="702" y="477"/>
                  <a:pt x="698" y="483"/>
                </a:cubicBezTo>
                <a:cubicBezTo>
                  <a:pt x="696" y="480"/>
                  <a:pt x="693" y="480"/>
                  <a:pt x="691" y="476"/>
                </a:cubicBezTo>
                <a:cubicBezTo>
                  <a:pt x="686" y="480"/>
                  <a:pt x="681" y="486"/>
                  <a:pt x="674" y="487"/>
                </a:cubicBezTo>
                <a:cubicBezTo>
                  <a:pt x="673" y="477"/>
                  <a:pt x="686" y="453"/>
                  <a:pt x="665" y="457"/>
                </a:cubicBezTo>
                <a:cubicBezTo>
                  <a:pt x="664" y="459"/>
                  <a:pt x="666" y="459"/>
                  <a:pt x="666" y="461"/>
                </a:cubicBezTo>
                <a:cubicBezTo>
                  <a:pt x="665" y="461"/>
                  <a:pt x="662" y="463"/>
                  <a:pt x="661" y="463"/>
                </a:cubicBezTo>
                <a:cubicBezTo>
                  <a:pt x="660" y="467"/>
                  <a:pt x="658" y="472"/>
                  <a:pt x="657" y="476"/>
                </a:cubicBezTo>
                <a:cubicBezTo>
                  <a:pt x="651" y="473"/>
                  <a:pt x="649" y="463"/>
                  <a:pt x="642" y="462"/>
                </a:cubicBezTo>
                <a:cubicBezTo>
                  <a:pt x="639" y="461"/>
                  <a:pt x="630" y="466"/>
                  <a:pt x="627" y="467"/>
                </a:cubicBezTo>
                <a:cubicBezTo>
                  <a:pt x="635" y="453"/>
                  <a:pt x="632" y="448"/>
                  <a:pt x="618" y="442"/>
                </a:cubicBezTo>
                <a:cubicBezTo>
                  <a:pt x="616" y="441"/>
                  <a:pt x="604" y="438"/>
                  <a:pt x="604" y="438"/>
                </a:cubicBezTo>
                <a:cubicBezTo>
                  <a:pt x="602" y="437"/>
                  <a:pt x="600" y="435"/>
                  <a:pt x="598" y="434"/>
                </a:cubicBezTo>
                <a:cubicBezTo>
                  <a:pt x="590" y="439"/>
                  <a:pt x="585" y="431"/>
                  <a:pt x="578" y="439"/>
                </a:cubicBezTo>
                <a:cubicBezTo>
                  <a:pt x="571" y="446"/>
                  <a:pt x="577" y="456"/>
                  <a:pt x="576" y="464"/>
                </a:cubicBezTo>
                <a:cubicBezTo>
                  <a:pt x="570" y="464"/>
                  <a:pt x="566" y="459"/>
                  <a:pt x="564" y="453"/>
                </a:cubicBezTo>
                <a:cubicBezTo>
                  <a:pt x="555" y="457"/>
                  <a:pt x="563" y="467"/>
                  <a:pt x="554" y="472"/>
                </a:cubicBezTo>
                <a:cubicBezTo>
                  <a:pt x="547" y="459"/>
                  <a:pt x="557" y="447"/>
                  <a:pt x="549" y="432"/>
                </a:cubicBezTo>
                <a:cubicBezTo>
                  <a:pt x="545" y="425"/>
                  <a:pt x="541" y="412"/>
                  <a:pt x="533" y="408"/>
                </a:cubicBezTo>
                <a:cubicBezTo>
                  <a:pt x="519" y="403"/>
                  <a:pt x="515" y="419"/>
                  <a:pt x="509" y="419"/>
                </a:cubicBezTo>
                <a:cubicBezTo>
                  <a:pt x="491" y="419"/>
                  <a:pt x="493" y="445"/>
                  <a:pt x="495" y="456"/>
                </a:cubicBezTo>
                <a:cubicBezTo>
                  <a:pt x="497" y="468"/>
                  <a:pt x="498" y="466"/>
                  <a:pt x="494" y="479"/>
                </a:cubicBezTo>
                <a:cubicBezTo>
                  <a:pt x="502" y="487"/>
                  <a:pt x="511" y="500"/>
                  <a:pt x="508" y="511"/>
                </a:cubicBezTo>
                <a:cubicBezTo>
                  <a:pt x="490" y="501"/>
                  <a:pt x="485" y="481"/>
                  <a:pt x="481" y="463"/>
                </a:cubicBezTo>
                <a:cubicBezTo>
                  <a:pt x="479" y="450"/>
                  <a:pt x="477" y="452"/>
                  <a:pt x="481" y="438"/>
                </a:cubicBezTo>
                <a:cubicBezTo>
                  <a:pt x="484" y="429"/>
                  <a:pt x="488" y="420"/>
                  <a:pt x="489" y="410"/>
                </a:cubicBezTo>
                <a:cubicBezTo>
                  <a:pt x="469" y="416"/>
                  <a:pt x="455" y="422"/>
                  <a:pt x="448" y="443"/>
                </a:cubicBezTo>
                <a:cubicBezTo>
                  <a:pt x="444" y="456"/>
                  <a:pt x="437" y="508"/>
                  <a:pt x="446" y="516"/>
                </a:cubicBezTo>
                <a:cubicBezTo>
                  <a:pt x="457" y="525"/>
                  <a:pt x="474" y="514"/>
                  <a:pt x="481" y="531"/>
                </a:cubicBezTo>
                <a:cubicBezTo>
                  <a:pt x="471" y="534"/>
                  <a:pt x="465" y="528"/>
                  <a:pt x="455" y="530"/>
                </a:cubicBezTo>
                <a:cubicBezTo>
                  <a:pt x="455" y="536"/>
                  <a:pt x="460" y="555"/>
                  <a:pt x="466" y="557"/>
                </a:cubicBezTo>
                <a:cubicBezTo>
                  <a:pt x="470" y="559"/>
                  <a:pt x="491" y="550"/>
                  <a:pt x="489" y="547"/>
                </a:cubicBezTo>
                <a:cubicBezTo>
                  <a:pt x="498" y="569"/>
                  <a:pt x="567" y="562"/>
                  <a:pt x="578" y="549"/>
                </a:cubicBezTo>
                <a:cubicBezTo>
                  <a:pt x="609" y="559"/>
                  <a:pt x="579" y="533"/>
                  <a:pt x="582" y="526"/>
                </a:cubicBezTo>
                <a:cubicBezTo>
                  <a:pt x="588" y="527"/>
                  <a:pt x="598" y="525"/>
                  <a:pt x="603" y="528"/>
                </a:cubicBezTo>
                <a:cubicBezTo>
                  <a:pt x="608" y="531"/>
                  <a:pt x="609" y="539"/>
                  <a:pt x="613" y="543"/>
                </a:cubicBezTo>
                <a:cubicBezTo>
                  <a:pt x="622" y="553"/>
                  <a:pt x="638" y="556"/>
                  <a:pt x="647" y="566"/>
                </a:cubicBezTo>
                <a:cubicBezTo>
                  <a:pt x="641" y="574"/>
                  <a:pt x="636" y="579"/>
                  <a:pt x="643" y="588"/>
                </a:cubicBezTo>
                <a:cubicBezTo>
                  <a:pt x="650" y="584"/>
                  <a:pt x="651" y="573"/>
                  <a:pt x="658" y="567"/>
                </a:cubicBezTo>
                <a:cubicBezTo>
                  <a:pt x="664" y="569"/>
                  <a:pt x="670" y="573"/>
                  <a:pt x="673" y="579"/>
                </a:cubicBezTo>
                <a:cubicBezTo>
                  <a:pt x="674" y="579"/>
                  <a:pt x="676" y="578"/>
                  <a:pt x="677" y="578"/>
                </a:cubicBezTo>
                <a:cubicBezTo>
                  <a:pt x="687" y="595"/>
                  <a:pt x="704" y="596"/>
                  <a:pt x="716" y="610"/>
                </a:cubicBezTo>
                <a:cubicBezTo>
                  <a:pt x="724" y="619"/>
                  <a:pt x="724" y="620"/>
                  <a:pt x="721" y="632"/>
                </a:cubicBezTo>
                <a:cubicBezTo>
                  <a:pt x="719" y="639"/>
                  <a:pt x="707" y="647"/>
                  <a:pt x="720" y="653"/>
                </a:cubicBezTo>
                <a:cubicBezTo>
                  <a:pt x="720" y="665"/>
                  <a:pt x="704" y="671"/>
                  <a:pt x="705" y="686"/>
                </a:cubicBezTo>
                <a:cubicBezTo>
                  <a:pt x="714" y="685"/>
                  <a:pt x="723" y="686"/>
                  <a:pt x="729" y="694"/>
                </a:cubicBezTo>
                <a:cubicBezTo>
                  <a:pt x="723" y="700"/>
                  <a:pt x="715" y="707"/>
                  <a:pt x="707" y="709"/>
                </a:cubicBezTo>
                <a:cubicBezTo>
                  <a:pt x="707" y="713"/>
                  <a:pt x="703" y="716"/>
                  <a:pt x="702" y="719"/>
                </a:cubicBezTo>
                <a:cubicBezTo>
                  <a:pt x="685" y="714"/>
                  <a:pt x="670" y="712"/>
                  <a:pt x="667" y="732"/>
                </a:cubicBezTo>
                <a:cubicBezTo>
                  <a:pt x="657" y="732"/>
                  <a:pt x="656" y="740"/>
                  <a:pt x="658" y="748"/>
                </a:cubicBezTo>
                <a:cubicBezTo>
                  <a:pt x="664" y="748"/>
                  <a:pt x="668" y="753"/>
                  <a:pt x="668" y="758"/>
                </a:cubicBezTo>
                <a:cubicBezTo>
                  <a:pt x="681" y="760"/>
                  <a:pt x="685" y="763"/>
                  <a:pt x="697" y="755"/>
                </a:cubicBezTo>
                <a:cubicBezTo>
                  <a:pt x="703" y="750"/>
                  <a:pt x="711" y="732"/>
                  <a:pt x="720" y="743"/>
                </a:cubicBezTo>
                <a:cubicBezTo>
                  <a:pt x="730" y="724"/>
                  <a:pt x="750" y="742"/>
                  <a:pt x="760" y="749"/>
                </a:cubicBezTo>
                <a:cubicBezTo>
                  <a:pt x="764" y="752"/>
                  <a:pt x="764" y="756"/>
                  <a:pt x="768" y="758"/>
                </a:cubicBezTo>
                <a:cubicBezTo>
                  <a:pt x="772" y="759"/>
                  <a:pt x="777" y="755"/>
                  <a:pt x="781" y="756"/>
                </a:cubicBezTo>
                <a:cubicBezTo>
                  <a:pt x="790" y="759"/>
                  <a:pt x="792" y="762"/>
                  <a:pt x="793" y="774"/>
                </a:cubicBezTo>
                <a:cubicBezTo>
                  <a:pt x="798" y="775"/>
                  <a:pt x="805" y="776"/>
                  <a:pt x="810" y="776"/>
                </a:cubicBezTo>
                <a:cubicBezTo>
                  <a:pt x="814" y="776"/>
                  <a:pt x="822" y="771"/>
                  <a:pt x="825" y="772"/>
                </a:cubicBezTo>
                <a:cubicBezTo>
                  <a:pt x="833" y="773"/>
                  <a:pt x="838" y="782"/>
                  <a:pt x="845" y="784"/>
                </a:cubicBezTo>
                <a:cubicBezTo>
                  <a:pt x="856" y="788"/>
                  <a:pt x="863" y="781"/>
                  <a:pt x="872" y="780"/>
                </a:cubicBezTo>
                <a:cubicBezTo>
                  <a:pt x="884" y="778"/>
                  <a:pt x="896" y="781"/>
                  <a:pt x="908" y="780"/>
                </a:cubicBezTo>
                <a:cubicBezTo>
                  <a:pt x="904" y="749"/>
                  <a:pt x="848" y="756"/>
                  <a:pt x="830" y="732"/>
                </a:cubicBezTo>
                <a:close/>
                <a:moveTo>
                  <a:pt x="686" y="797"/>
                </a:moveTo>
                <a:cubicBezTo>
                  <a:pt x="688" y="798"/>
                  <a:pt x="688" y="798"/>
                  <a:pt x="688" y="798"/>
                </a:cubicBezTo>
                <a:cubicBezTo>
                  <a:pt x="687" y="797"/>
                  <a:pt x="686" y="797"/>
                  <a:pt x="686" y="796"/>
                </a:cubicBezTo>
                <a:cubicBezTo>
                  <a:pt x="685" y="796"/>
                  <a:pt x="684" y="795"/>
                  <a:pt x="683" y="795"/>
                </a:cubicBezTo>
                <a:cubicBezTo>
                  <a:pt x="683" y="795"/>
                  <a:pt x="683" y="795"/>
                  <a:pt x="683" y="795"/>
                </a:cubicBezTo>
                <a:cubicBezTo>
                  <a:pt x="680" y="795"/>
                  <a:pt x="677" y="795"/>
                  <a:pt x="675" y="797"/>
                </a:cubicBezTo>
                <a:cubicBezTo>
                  <a:pt x="677" y="811"/>
                  <a:pt x="693" y="808"/>
                  <a:pt x="687" y="799"/>
                </a:cubicBezTo>
                <a:cubicBezTo>
                  <a:pt x="687" y="798"/>
                  <a:pt x="687" y="797"/>
                  <a:pt x="686" y="797"/>
                </a:cubicBezTo>
                <a:close/>
                <a:moveTo>
                  <a:pt x="679" y="632"/>
                </a:moveTo>
                <a:cubicBezTo>
                  <a:pt x="681" y="622"/>
                  <a:pt x="676" y="623"/>
                  <a:pt x="674" y="616"/>
                </a:cubicBezTo>
                <a:cubicBezTo>
                  <a:pt x="673" y="610"/>
                  <a:pt x="676" y="598"/>
                  <a:pt x="666" y="601"/>
                </a:cubicBezTo>
                <a:cubicBezTo>
                  <a:pt x="668" y="601"/>
                  <a:pt x="668" y="601"/>
                  <a:pt x="668" y="601"/>
                </a:cubicBezTo>
                <a:cubicBezTo>
                  <a:pt x="659" y="601"/>
                  <a:pt x="650" y="602"/>
                  <a:pt x="647" y="611"/>
                </a:cubicBezTo>
                <a:cubicBezTo>
                  <a:pt x="645" y="617"/>
                  <a:pt x="648" y="635"/>
                  <a:pt x="649" y="643"/>
                </a:cubicBezTo>
                <a:cubicBezTo>
                  <a:pt x="658" y="650"/>
                  <a:pt x="677" y="642"/>
                  <a:pt x="679" y="632"/>
                </a:cubicBezTo>
                <a:close/>
                <a:moveTo>
                  <a:pt x="661" y="846"/>
                </a:moveTo>
                <a:cubicBezTo>
                  <a:pt x="646" y="848"/>
                  <a:pt x="660" y="874"/>
                  <a:pt x="664" y="880"/>
                </a:cubicBezTo>
                <a:cubicBezTo>
                  <a:pt x="676" y="876"/>
                  <a:pt x="674" y="845"/>
                  <a:pt x="661" y="846"/>
                </a:cubicBezTo>
                <a:close/>
                <a:moveTo>
                  <a:pt x="613" y="790"/>
                </a:moveTo>
                <a:cubicBezTo>
                  <a:pt x="611" y="790"/>
                  <a:pt x="611" y="790"/>
                  <a:pt x="609" y="790"/>
                </a:cubicBezTo>
                <a:cubicBezTo>
                  <a:pt x="608" y="775"/>
                  <a:pt x="600" y="776"/>
                  <a:pt x="592" y="765"/>
                </a:cubicBezTo>
                <a:cubicBezTo>
                  <a:pt x="586" y="764"/>
                  <a:pt x="582" y="756"/>
                  <a:pt x="577" y="752"/>
                </a:cubicBezTo>
                <a:cubicBezTo>
                  <a:pt x="570" y="748"/>
                  <a:pt x="561" y="746"/>
                  <a:pt x="555" y="743"/>
                </a:cubicBezTo>
                <a:cubicBezTo>
                  <a:pt x="548" y="769"/>
                  <a:pt x="539" y="732"/>
                  <a:pt x="532" y="733"/>
                </a:cubicBezTo>
                <a:cubicBezTo>
                  <a:pt x="526" y="733"/>
                  <a:pt x="521" y="754"/>
                  <a:pt x="528" y="757"/>
                </a:cubicBezTo>
                <a:cubicBezTo>
                  <a:pt x="529" y="757"/>
                  <a:pt x="530" y="758"/>
                  <a:pt x="532" y="758"/>
                </a:cubicBezTo>
                <a:cubicBezTo>
                  <a:pt x="531" y="770"/>
                  <a:pt x="535" y="783"/>
                  <a:pt x="531" y="795"/>
                </a:cubicBezTo>
                <a:cubicBezTo>
                  <a:pt x="528" y="806"/>
                  <a:pt x="519" y="813"/>
                  <a:pt x="516" y="824"/>
                </a:cubicBezTo>
                <a:cubicBezTo>
                  <a:pt x="524" y="825"/>
                  <a:pt x="534" y="817"/>
                  <a:pt x="541" y="818"/>
                </a:cubicBezTo>
                <a:cubicBezTo>
                  <a:pt x="553" y="821"/>
                  <a:pt x="540" y="837"/>
                  <a:pt x="554" y="842"/>
                </a:cubicBezTo>
                <a:cubicBezTo>
                  <a:pt x="563" y="837"/>
                  <a:pt x="571" y="819"/>
                  <a:pt x="575" y="810"/>
                </a:cubicBezTo>
                <a:cubicBezTo>
                  <a:pt x="587" y="789"/>
                  <a:pt x="585" y="799"/>
                  <a:pt x="603" y="806"/>
                </a:cubicBezTo>
                <a:cubicBezTo>
                  <a:pt x="609" y="809"/>
                  <a:pt x="620" y="811"/>
                  <a:pt x="626" y="812"/>
                </a:cubicBezTo>
                <a:cubicBezTo>
                  <a:pt x="631" y="806"/>
                  <a:pt x="640" y="800"/>
                  <a:pt x="635" y="792"/>
                </a:cubicBezTo>
                <a:cubicBezTo>
                  <a:pt x="630" y="786"/>
                  <a:pt x="618" y="789"/>
                  <a:pt x="613" y="790"/>
                </a:cubicBezTo>
                <a:close/>
                <a:moveTo>
                  <a:pt x="607" y="836"/>
                </a:moveTo>
                <a:cubicBezTo>
                  <a:pt x="608" y="837"/>
                  <a:pt x="608" y="837"/>
                  <a:pt x="608" y="837"/>
                </a:cubicBezTo>
                <a:cubicBezTo>
                  <a:pt x="599" y="838"/>
                  <a:pt x="589" y="837"/>
                  <a:pt x="585" y="846"/>
                </a:cubicBezTo>
                <a:cubicBezTo>
                  <a:pt x="580" y="854"/>
                  <a:pt x="585" y="873"/>
                  <a:pt x="598" y="870"/>
                </a:cubicBezTo>
                <a:cubicBezTo>
                  <a:pt x="604" y="868"/>
                  <a:pt x="615" y="849"/>
                  <a:pt x="616" y="842"/>
                </a:cubicBezTo>
                <a:cubicBezTo>
                  <a:pt x="618" y="834"/>
                  <a:pt x="616" y="827"/>
                  <a:pt x="607" y="836"/>
                </a:cubicBezTo>
                <a:close/>
                <a:moveTo>
                  <a:pt x="547" y="417"/>
                </a:moveTo>
                <a:cubicBezTo>
                  <a:pt x="548" y="420"/>
                  <a:pt x="552" y="425"/>
                  <a:pt x="555" y="431"/>
                </a:cubicBezTo>
                <a:cubicBezTo>
                  <a:pt x="564" y="448"/>
                  <a:pt x="562" y="439"/>
                  <a:pt x="575" y="432"/>
                </a:cubicBezTo>
                <a:cubicBezTo>
                  <a:pt x="581" y="428"/>
                  <a:pt x="585" y="431"/>
                  <a:pt x="592" y="430"/>
                </a:cubicBezTo>
                <a:cubicBezTo>
                  <a:pt x="609" y="428"/>
                  <a:pt x="601" y="415"/>
                  <a:pt x="591" y="407"/>
                </a:cubicBezTo>
                <a:cubicBezTo>
                  <a:pt x="582" y="401"/>
                  <a:pt x="565" y="402"/>
                  <a:pt x="555" y="405"/>
                </a:cubicBezTo>
                <a:cubicBezTo>
                  <a:pt x="546" y="408"/>
                  <a:pt x="545" y="412"/>
                  <a:pt x="547" y="417"/>
                </a:cubicBezTo>
                <a:close/>
                <a:moveTo>
                  <a:pt x="480" y="741"/>
                </a:moveTo>
                <a:cubicBezTo>
                  <a:pt x="490" y="747"/>
                  <a:pt x="495" y="758"/>
                  <a:pt x="509" y="750"/>
                </a:cubicBezTo>
                <a:cubicBezTo>
                  <a:pt x="520" y="745"/>
                  <a:pt x="523" y="729"/>
                  <a:pt x="528" y="719"/>
                </a:cubicBezTo>
                <a:cubicBezTo>
                  <a:pt x="526" y="718"/>
                  <a:pt x="512" y="710"/>
                  <a:pt x="510" y="711"/>
                </a:cubicBezTo>
                <a:cubicBezTo>
                  <a:pt x="515" y="708"/>
                  <a:pt x="533" y="697"/>
                  <a:pt x="535" y="710"/>
                </a:cubicBezTo>
                <a:cubicBezTo>
                  <a:pt x="552" y="711"/>
                  <a:pt x="558" y="701"/>
                  <a:pt x="569" y="690"/>
                </a:cubicBezTo>
                <a:cubicBezTo>
                  <a:pt x="580" y="680"/>
                  <a:pt x="595" y="673"/>
                  <a:pt x="590" y="656"/>
                </a:cubicBezTo>
                <a:cubicBezTo>
                  <a:pt x="589" y="653"/>
                  <a:pt x="559" y="614"/>
                  <a:pt x="560" y="614"/>
                </a:cubicBezTo>
                <a:cubicBezTo>
                  <a:pt x="585" y="612"/>
                  <a:pt x="571" y="588"/>
                  <a:pt x="560" y="578"/>
                </a:cubicBezTo>
                <a:cubicBezTo>
                  <a:pt x="546" y="582"/>
                  <a:pt x="537" y="565"/>
                  <a:pt x="524" y="576"/>
                </a:cubicBezTo>
                <a:cubicBezTo>
                  <a:pt x="519" y="573"/>
                  <a:pt x="515" y="574"/>
                  <a:pt x="510" y="572"/>
                </a:cubicBezTo>
                <a:cubicBezTo>
                  <a:pt x="508" y="579"/>
                  <a:pt x="508" y="585"/>
                  <a:pt x="512" y="592"/>
                </a:cubicBezTo>
                <a:cubicBezTo>
                  <a:pt x="514" y="592"/>
                  <a:pt x="517" y="592"/>
                  <a:pt x="519" y="592"/>
                </a:cubicBezTo>
                <a:cubicBezTo>
                  <a:pt x="524" y="606"/>
                  <a:pt x="520" y="636"/>
                  <a:pt x="517" y="650"/>
                </a:cubicBezTo>
                <a:cubicBezTo>
                  <a:pt x="502" y="713"/>
                  <a:pt x="464" y="648"/>
                  <a:pt x="482" y="626"/>
                </a:cubicBezTo>
                <a:cubicBezTo>
                  <a:pt x="472" y="618"/>
                  <a:pt x="466" y="608"/>
                  <a:pt x="456" y="601"/>
                </a:cubicBezTo>
                <a:cubicBezTo>
                  <a:pt x="455" y="614"/>
                  <a:pt x="464" y="633"/>
                  <a:pt x="456" y="642"/>
                </a:cubicBezTo>
                <a:cubicBezTo>
                  <a:pt x="453" y="641"/>
                  <a:pt x="448" y="639"/>
                  <a:pt x="446" y="638"/>
                </a:cubicBezTo>
                <a:cubicBezTo>
                  <a:pt x="447" y="619"/>
                  <a:pt x="440" y="593"/>
                  <a:pt x="416" y="600"/>
                </a:cubicBezTo>
                <a:cubicBezTo>
                  <a:pt x="412" y="583"/>
                  <a:pt x="418" y="567"/>
                  <a:pt x="415" y="551"/>
                </a:cubicBezTo>
                <a:cubicBezTo>
                  <a:pt x="414" y="543"/>
                  <a:pt x="405" y="520"/>
                  <a:pt x="399" y="510"/>
                </a:cubicBezTo>
                <a:cubicBezTo>
                  <a:pt x="390" y="511"/>
                  <a:pt x="382" y="507"/>
                  <a:pt x="374" y="505"/>
                </a:cubicBezTo>
                <a:cubicBezTo>
                  <a:pt x="374" y="516"/>
                  <a:pt x="365" y="533"/>
                  <a:pt x="362" y="542"/>
                </a:cubicBezTo>
                <a:cubicBezTo>
                  <a:pt x="354" y="578"/>
                  <a:pt x="381" y="581"/>
                  <a:pt x="392" y="613"/>
                </a:cubicBezTo>
                <a:cubicBezTo>
                  <a:pt x="400" y="634"/>
                  <a:pt x="398" y="627"/>
                  <a:pt x="384" y="647"/>
                </a:cubicBezTo>
                <a:cubicBezTo>
                  <a:pt x="374" y="661"/>
                  <a:pt x="374" y="667"/>
                  <a:pt x="369" y="686"/>
                </a:cubicBezTo>
                <a:cubicBezTo>
                  <a:pt x="368" y="689"/>
                  <a:pt x="359" y="679"/>
                  <a:pt x="359" y="678"/>
                </a:cubicBezTo>
                <a:cubicBezTo>
                  <a:pt x="353" y="668"/>
                  <a:pt x="355" y="655"/>
                  <a:pt x="363" y="646"/>
                </a:cubicBezTo>
                <a:cubicBezTo>
                  <a:pt x="358" y="652"/>
                  <a:pt x="347" y="642"/>
                  <a:pt x="345" y="641"/>
                </a:cubicBezTo>
                <a:cubicBezTo>
                  <a:pt x="333" y="636"/>
                  <a:pt x="323" y="641"/>
                  <a:pt x="326" y="656"/>
                </a:cubicBezTo>
                <a:cubicBezTo>
                  <a:pt x="336" y="654"/>
                  <a:pt x="337" y="658"/>
                  <a:pt x="344" y="662"/>
                </a:cubicBezTo>
                <a:cubicBezTo>
                  <a:pt x="333" y="677"/>
                  <a:pt x="326" y="664"/>
                  <a:pt x="315" y="663"/>
                </a:cubicBezTo>
                <a:cubicBezTo>
                  <a:pt x="302" y="661"/>
                  <a:pt x="288" y="667"/>
                  <a:pt x="276" y="664"/>
                </a:cubicBezTo>
                <a:cubicBezTo>
                  <a:pt x="255" y="659"/>
                  <a:pt x="206" y="599"/>
                  <a:pt x="187" y="642"/>
                </a:cubicBezTo>
                <a:cubicBezTo>
                  <a:pt x="185" y="645"/>
                  <a:pt x="185" y="682"/>
                  <a:pt x="185" y="682"/>
                </a:cubicBezTo>
                <a:cubicBezTo>
                  <a:pt x="179" y="682"/>
                  <a:pt x="177" y="680"/>
                  <a:pt x="173" y="676"/>
                </a:cubicBezTo>
                <a:cubicBezTo>
                  <a:pt x="189" y="627"/>
                  <a:pt x="98" y="630"/>
                  <a:pt x="75" y="608"/>
                </a:cubicBezTo>
                <a:cubicBezTo>
                  <a:pt x="78" y="602"/>
                  <a:pt x="79" y="601"/>
                  <a:pt x="85" y="600"/>
                </a:cubicBezTo>
                <a:cubicBezTo>
                  <a:pt x="100" y="610"/>
                  <a:pt x="101" y="587"/>
                  <a:pt x="95" y="578"/>
                </a:cubicBezTo>
                <a:cubicBezTo>
                  <a:pt x="88" y="568"/>
                  <a:pt x="73" y="567"/>
                  <a:pt x="62" y="566"/>
                </a:cubicBezTo>
                <a:cubicBezTo>
                  <a:pt x="54" y="550"/>
                  <a:pt x="40" y="538"/>
                  <a:pt x="26" y="526"/>
                </a:cubicBezTo>
                <a:cubicBezTo>
                  <a:pt x="25" y="527"/>
                  <a:pt x="24" y="527"/>
                  <a:pt x="23" y="528"/>
                </a:cubicBezTo>
                <a:cubicBezTo>
                  <a:pt x="13" y="535"/>
                  <a:pt x="0" y="566"/>
                  <a:pt x="1" y="578"/>
                </a:cubicBezTo>
                <a:cubicBezTo>
                  <a:pt x="2" y="597"/>
                  <a:pt x="23" y="607"/>
                  <a:pt x="35" y="621"/>
                </a:cubicBezTo>
                <a:cubicBezTo>
                  <a:pt x="49" y="637"/>
                  <a:pt x="43" y="655"/>
                  <a:pt x="56" y="670"/>
                </a:cubicBezTo>
                <a:cubicBezTo>
                  <a:pt x="68" y="683"/>
                  <a:pt x="76" y="704"/>
                  <a:pt x="88" y="715"/>
                </a:cubicBezTo>
                <a:cubicBezTo>
                  <a:pt x="97" y="723"/>
                  <a:pt x="111" y="718"/>
                  <a:pt x="119" y="726"/>
                </a:cubicBezTo>
                <a:cubicBezTo>
                  <a:pt x="126" y="732"/>
                  <a:pt x="125" y="746"/>
                  <a:pt x="127" y="755"/>
                </a:cubicBezTo>
                <a:cubicBezTo>
                  <a:pt x="144" y="761"/>
                  <a:pt x="163" y="765"/>
                  <a:pt x="181" y="771"/>
                </a:cubicBezTo>
                <a:cubicBezTo>
                  <a:pt x="207" y="779"/>
                  <a:pt x="250" y="805"/>
                  <a:pt x="250" y="805"/>
                </a:cubicBezTo>
                <a:cubicBezTo>
                  <a:pt x="250" y="805"/>
                  <a:pt x="248" y="867"/>
                  <a:pt x="243" y="893"/>
                </a:cubicBezTo>
                <a:cubicBezTo>
                  <a:pt x="240" y="916"/>
                  <a:pt x="236" y="940"/>
                  <a:pt x="234" y="963"/>
                </a:cubicBezTo>
                <a:cubicBezTo>
                  <a:pt x="282" y="969"/>
                  <a:pt x="332" y="973"/>
                  <a:pt x="384" y="974"/>
                </a:cubicBezTo>
                <a:cubicBezTo>
                  <a:pt x="391" y="939"/>
                  <a:pt x="406" y="900"/>
                  <a:pt x="426" y="872"/>
                </a:cubicBezTo>
                <a:cubicBezTo>
                  <a:pt x="434" y="862"/>
                  <a:pt x="464" y="858"/>
                  <a:pt x="448" y="840"/>
                </a:cubicBezTo>
                <a:cubicBezTo>
                  <a:pt x="439" y="829"/>
                  <a:pt x="411" y="827"/>
                  <a:pt x="398" y="826"/>
                </a:cubicBezTo>
                <a:cubicBezTo>
                  <a:pt x="397" y="806"/>
                  <a:pt x="434" y="824"/>
                  <a:pt x="443" y="827"/>
                </a:cubicBezTo>
                <a:cubicBezTo>
                  <a:pt x="453" y="831"/>
                  <a:pt x="457" y="835"/>
                  <a:pt x="466" y="822"/>
                </a:cubicBezTo>
                <a:cubicBezTo>
                  <a:pt x="472" y="813"/>
                  <a:pt x="475" y="809"/>
                  <a:pt x="489" y="813"/>
                </a:cubicBezTo>
                <a:cubicBezTo>
                  <a:pt x="496" y="804"/>
                  <a:pt x="503" y="790"/>
                  <a:pt x="508" y="779"/>
                </a:cubicBezTo>
                <a:cubicBezTo>
                  <a:pt x="510" y="773"/>
                  <a:pt x="512" y="765"/>
                  <a:pt x="506" y="761"/>
                </a:cubicBezTo>
                <a:cubicBezTo>
                  <a:pt x="499" y="756"/>
                  <a:pt x="494" y="762"/>
                  <a:pt x="488" y="762"/>
                </a:cubicBezTo>
                <a:cubicBezTo>
                  <a:pt x="472" y="762"/>
                  <a:pt x="459" y="745"/>
                  <a:pt x="446" y="738"/>
                </a:cubicBezTo>
                <a:cubicBezTo>
                  <a:pt x="454" y="742"/>
                  <a:pt x="470" y="736"/>
                  <a:pt x="480" y="741"/>
                </a:cubicBezTo>
                <a:close/>
                <a:moveTo>
                  <a:pt x="415" y="112"/>
                </a:moveTo>
                <a:cubicBezTo>
                  <a:pt x="420" y="116"/>
                  <a:pt x="434" y="108"/>
                  <a:pt x="441" y="105"/>
                </a:cubicBezTo>
                <a:cubicBezTo>
                  <a:pt x="438" y="115"/>
                  <a:pt x="431" y="131"/>
                  <a:pt x="446" y="132"/>
                </a:cubicBezTo>
                <a:cubicBezTo>
                  <a:pt x="453" y="133"/>
                  <a:pt x="466" y="124"/>
                  <a:pt x="472" y="120"/>
                </a:cubicBezTo>
                <a:cubicBezTo>
                  <a:pt x="476" y="117"/>
                  <a:pt x="490" y="100"/>
                  <a:pt x="492" y="112"/>
                </a:cubicBezTo>
                <a:cubicBezTo>
                  <a:pt x="494" y="124"/>
                  <a:pt x="472" y="126"/>
                  <a:pt x="470" y="134"/>
                </a:cubicBezTo>
                <a:cubicBezTo>
                  <a:pt x="468" y="141"/>
                  <a:pt x="482" y="155"/>
                  <a:pt x="483" y="165"/>
                </a:cubicBezTo>
                <a:cubicBezTo>
                  <a:pt x="469" y="161"/>
                  <a:pt x="466" y="148"/>
                  <a:pt x="454" y="145"/>
                </a:cubicBezTo>
                <a:cubicBezTo>
                  <a:pt x="436" y="140"/>
                  <a:pt x="440" y="156"/>
                  <a:pt x="448" y="165"/>
                </a:cubicBezTo>
                <a:cubicBezTo>
                  <a:pt x="451" y="169"/>
                  <a:pt x="456" y="171"/>
                  <a:pt x="459" y="176"/>
                </a:cubicBezTo>
                <a:cubicBezTo>
                  <a:pt x="462" y="182"/>
                  <a:pt x="460" y="187"/>
                  <a:pt x="466" y="192"/>
                </a:cubicBezTo>
                <a:cubicBezTo>
                  <a:pt x="470" y="195"/>
                  <a:pt x="481" y="192"/>
                  <a:pt x="481" y="199"/>
                </a:cubicBezTo>
                <a:cubicBezTo>
                  <a:pt x="481" y="207"/>
                  <a:pt x="471" y="205"/>
                  <a:pt x="467" y="206"/>
                </a:cubicBezTo>
                <a:cubicBezTo>
                  <a:pt x="449" y="208"/>
                  <a:pt x="441" y="215"/>
                  <a:pt x="441" y="235"/>
                </a:cubicBezTo>
                <a:cubicBezTo>
                  <a:pt x="446" y="241"/>
                  <a:pt x="449" y="236"/>
                  <a:pt x="455" y="238"/>
                </a:cubicBezTo>
                <a:cubicBezTo>
                  <a:pt x="464" y="241"/>
                  <a:pt x="457" y="240"/>
                  <a:pt x="462" y="247"/>
                </a:cubicBezTo>
                <a:cubicBezTo>
                  <a:pt x="470" y="256"/>
                  <a:pt x="471" y="245"/>
                  <a:pt x="478" y="248"/>
                </a:cubicBezTo>
                <a:cubicBezTo>
                  <a:pt x="489" y="253"/>
                  <a:pt x="479" y="260"/>
                  <a:pt x="471" y="260"/>
                </a:cubicBezTo>
                <a:cubicBezTo>
                  <a:pt x="463" y="260"/>
                  <a:pt x="462" y="257"/>
                  <a:pt x="456" y="253"/>
                </a:cubicBezTo>
                <a:cubicBezTo>
                  <a:pt x="456" y="252"/>
                  <a:pt x="456" y="250"/>
                  <a:pt x="456" y="249"/>
                </a:cubicBezTo>
                <a:cubicBezTo>
                  <a:pt x="443" y="244"/>
                  <a:pt x="442" y="255"/>
                  <a:pt x="439" y="264"/>
                </a:cubicBezTo>
                <a:cubicBezTo>
                  <a:pt x="463" y="274"/>
                  <a:pt x="420" y="287"/>
                  <a:pt x="439" y="306"/>
                </a:cubicBezTo>
                <a:cubicBezTo>
                  <a:pt x="447" y="306"/>
                  <a:pt x="457" y="305"/>
                  <a:pt x="464" y="306"/>
                </a:cubicBezTo>
                <a:cubicBezTo>
                  <a:pt x="471" y="306"/>
                  <a:pt x="475" y="311"/>
                  <a:pt x="480" y="300"/>
                </a:cubicBezTo>
                <a:cubicBezTo>
                  <a:pt x="490" y="304"/>
                  <a:pt x="500" y="294"/>
                  <a:pt x="512" y="293"/>
                </a:cubicBezTo>
                <a:cubicBezTo>
                  <a:pt x="512" y="298"/>
                  <a:pt x="512" y="303"/>
                  <a:pt x="514" y="307"/>
                </a:cubicBezTo>
                <a:cubicBezTo>
                  <a:pt x="521" y="301"/>
                  <a:pt x="555" y="272"/>
                  <a:pt x="533" y="266"/>
                </a:cubicBezTo>
                <a:cubicBezTo>
                  <a:pt x="530" y="271"/>
                  <a:pt x="527" y="273"/>
                  <a:pt x="522" y="273"/>
                </a:cubicBezTo>
                <a:cubicBezTo>
                  <a:pt x="522" y="271"/>
                  <a:pt x="522" y="270"/>
                  <a:pt x="523" y="268"/>
                </a:cubicBezTo>
                <a:cubicBezTo>
                  <a:pt x="514" y="262"/>
                  <a:pt x="499" y="269"/>
                  <a:pt x="496" y="254"/>
                </a:cubicBezTo>
                <a:cubicBezTo>
                  <a:pt x="506" y="254"/>
                  <a:pt x="512" y="262"/>
                  <a:pt x="523" y="254"/>
                </a:cubicBezTo>
                <a:cubicBezTo>
                  <a:pt x="533" y="245"/>
                  <a:pt x="522" y="240"/>
                  <a:pt x="526" y="228"/>
                </a:cubicBezTo>
                <a:cubicBezTo>
                  <a:pt x="532" y="227"/>
                  <a:pt x="550" y="219"/>
                  <a:pt x="534" y="218"/>
                </a:cubicBezTo>
                <a:cubicBezTo>
                  <a:pt x="533" y="208"/>
                  <a:pt x="546" y="215"/>
                  <a:pt x="544" y="203"/>
                </a:cubicBezTo>
                <a:cubicBezTo>
                  <a:pt x="541" y="203"/>
                  <a:pt x="538" y="201"/>
                  <a:pt x="535" y="202"/>
                </a:cubicBezTo>
                <a:cubicBezTo>
                  <a:pt x="540" y="195"/>
                  <a:pt x="543" y="190"/>
                  <a:pt x="533" y="184"/>
                </a:cubicBezTo>
                <a:cubicBezTo>
                  <a:pt x="529" y="184"/>
                  <a:pt x="526" y="183"/>
                  <a:pt x="523" y="182"/>
                </a:cubicBezTo>
                <a:cubicBezTo>
                  <a:pt x="523" y="179"/>
                  <a:pt x="522" y="180"/>
                  <a:pt x="521" y="179"/>
                </a:cubicBezTo>
                <a:cubicBezTo>
                  <a:pt x="521" y="174"/>
                  <a:pt x="518" y="173"/>
                  <a:pt x="513" y="174"/>
                </a:cubicBezTo>
                <a:cubicBezTo>
                  <a:pt x="517" y="168"/>
                  <a:pt x="523" y="169"/>
                  <a:pt x="527" y="165"/>
                </a:cubicBezTo>
                <a:cubicBezTo>
                  <a:pt x="530" y="163"/>
                  <a:pt x="533" y="151"/>
                  <a:pt x="534" y="147"/>
                </a:cubicBezTo>
                <a:cubicBezTo>
                  <a:pt x="534" y="148"/>
                  <a:pt x="550" y="143"/>
                  <a:pt x="551" y="142"/>
                </a:cubicBezTo>
                <a:cubicBezTo>
                  <a:pt x="557" y="136"/>
                  <a:pt x="554" y="124"/>
                  <a:pt x="546" y="122"/>
                </a:cubicBezTo>
                <a:cubicBezTo>
                  <a:pt x="550" y="114"/>
                  <a:pt x="554" y="111"/>
                  <a:pt x="556" y="102"/>
                </a:cubicBezTo>
                <a:cubicBezTo>
                  <a:pt x="557" y="95"/>
                  <a:pt x="558" y="88"/>
                  <a:pt x="561" y="80"/>
                </a:cubicBezTo>
                <a:cubicBezTo>
                  <a:pt x="561" y="80"/>
                  <a:pt x="562" y="80"/>
                  <a:pt x="562" y="81"/>
                </a:cubicBezTo>
                <a:cubicBezTo>
                  <a:pt x="564" y="77"/>
                  <a:pt x="564" y="58"/>
                  <a:pt x="564" y="54"/>
                </a:cubicBezTo>
                <a:cubicBezTo>
                  <a:pt x="553" y="56"/>
                  <a:pt x="553" y="74"/>
                  <a:pt x="543" y="78"/>
                </a:cubicBezTo>
                <a:cubicBezTo>
                  <a:pt x="542" y="68"/>
                  <a:pt x="543" y="60"/>
                  <a:pt x="540" y="51"/>
                </a:cubicBezTo>
                <a:cubicBezTo>
                  <a:pt x="543" y="51"/>
                  <a:pt x="545" y="51"/>
                  <a:pt x="549" y="53"/>
                </a:cubicBezTo>
                <a:cubicBezTo>
                  <a:pt x="558" y="42"/>
                  <a:pt x="567" y="22"/>
                  <a:pt x="553" y="10"/>
                </a:cubicBezTo>
                <a:cubicBezTo>
                  <a:pt x="542" y="1"/>
                  <a:pt x="529" y="18"/>
                  <a:pt x="521" y="11"/>
                </a:cubicBezTo>
                <a:cubicBezTo>
                  <a:pt x="516" y="7"/>
                  <a:pt x="523" y="5"/>
                  <a:pt x="515" y="1"/>
                </a:cubicBezTo>
                <a:cubicBezTo>
                  <a:pt x="510" y="0"/>
                  <a:pt x="506" y="2"/>
                  <a:pt x="502" y="4"/>
                </a:cubicBezTo>
                <a:cubicBezTo>
                  <a:pt x="497" y="6"/>
                  <a:pt x="484" y="10"/>
                  <a:pt x="480" y="13"/>
                </a:cubicBezTo>
                <a:cubicBezTo>
                  <a:pt x="475" y="17"/>
                  <a:pt x="477" y="18"/>
                  <a:pt x="475" y="24"/>
                </a:cubicBezTo>
                <a:cubicBezTo>
                  <a:pt x="472" y="29"/>
                  <a:pt x="466" y="31"/>
                  <a:pt x="461" y="29"/>
                </a:cubicBezTo>
                <a:cubicBezTo>
                  <a:pt x="456" y="35"/>
                  <a:pt x="455" y="39"/>
                  <a:pt x="452" y="46"/>
                </a:cubicBezTo>
                <a:cubicBezTo>
                  <a:pt x="447" y="56"/>
                  <a:pt x="446" y="56"/>
                  <a:pt x="435" y="51"/>
                </a:cubicBezTo>
                <a:cubicBezTo>
                  <a:pt x="433" y="52"/>
                  <a:pt x="431" y="56"/>
                  <a:pt x="430" y="58"/>
                </a:cubicBezTo>
                <a:cubicBezTo>
                  <a:pt x="432" y="61"/>
                  <a:pt x="434" y="65"/>
                  <a:pt x="436" y="68"/>
                </a:cubicBezTo>
                <a:cubicBezTo>
                  <a:pt x="435" y="69"/>
                  <a:pt x="434" y="70"/>
                  <a:pt x="433" y="71"/>
                </a:cubicBezTo>
                <a:cubicBezTo>
                  <a:pt x="424" y="66"/>
                  <a:pt x="424" y="72"/>
                  <a:pt x="418" y="76"/>
                </a:cubicBezTo>
                <a:cubicBezTo>
                  <a:pt x="413" y="79"/>
                  <a:pt x="407" y="79"/>
                  <a:pt x="402" y="83"/>
                </a:cubicBezTo>
                <a:cubicBezTo>
                  <a:pt x="401" y="84"/>
                  <a:pt x="401" y="88"/>
                  <a:pt x="401" y="89"/>
                </a:cubicBezTo>
                <a:cubicBezTo>
                  <a:pt x="415" y="89"/>
                  <a:pt x="406" y="106"/>
                  <a:pt x="415" y="112"/>
                </a:cubicBezTo>
                <a:close/>
                <a:moveTo>
                  <a:pt x="459" y="386"/>
                </a:moveTo>
                <a:cubicBezTo>
                  <a:pt x="466" y="388"/>
                  <a:pt x="476" y="385"/>
                  <a:pt x="483" y="384"/>
                </a:cubicBezTo>
                <a:cubicBezTo>
                  <a:pt x="493" y="382"/>
                  <a:pt x="500" y="373"/>
                  <a:pt x="510" y="372"/>
                </a:cubicBezTo>
                <a:cubicBezTo>
                  <a:pt x="516" y="371"/>
                  <a:pt x="518" y="378"/>
                  <a:pt x="526" y="374"/>
                </a:cubicBezTo>
                <a:cubicBezTo>
                  <a:pt x="536" y="370"/>
                  <a:pt x="537" y="357"/>
                  <a:pt x="533" y="348"/>
                </a:cubicBezTo>
                <a:cubicBezTo>
                  <a:pt x="531" y="343"/>
                  <a:pt x="538" y="338"/>
                  <a:pt x="532" y="331"/>
                </a:cubicBezTo>
                <a:cubicBezTo>
                  <a:pt x="527" y="326"/>
                  <a:pt x="522" y="327"/>
                  <a:pt x="516" y="326"/>
                </a:cubicBezTo>
                <a:cubicBezTo>
                  <a:pt x="508" y="325"/>
                  <a:pt x="497" y="326"/>
                  <a:pt x="490" y="329"/>
                </a:cubicBezTo>
                <a:cubicBezTo>
                  <a:pt x="486" y="331"/>
                  <a:pt x="484" y="335"/>
                  <a:pt x="481" y="336"/>
                </a:cubicBezTo>
                <a:cubicBezTo>
                  <a:pt x="479" y="336"/>
                  <a:pt x="474" y="336"/>
                  <a:pt x="473" y="336"/>
                </a:cubicBezTo>
                <a:cubicBezTo>
                  <a:pt x="464" y="340"/>
                  <a:pt x="464" y="344"/>
                  <a:pt x="454" y="344"/>
                </a:cubicBezTo>
                <a:cubicBezTo>
                  <a:pt x="439" y="345"/>
                  <a:pt x="445" y="338"/>
                  <a:pt x="437" y="333"/>
                </a:cubicBezTo>
                <a:cubicBezTo>
                  <a:pt x="429" y="328"/>
                  <a:pt x="420" y="338"/>
                  <a:pt x="419" y="326"/>
                </a:cubicBezTo>
                <a:cubicBezTo>
                  <a:pt x="418" y="318"/>
                  <a:pt x="428" y="316"/>
                  <a:pt x="426" y="309"/>
                </a:cubicBezTo>
                <a:cubicBezTo>
                  <a:pt x="426" y="310"/>
                  <a:pt x="412" y="300"/>
                  <a:pt x="413" y="300"/>
                </a:cubicBezTo>
                <a:cubicBezTo>
                  <a:pt x="406" y="298"/>
                  <a:pt x="401" y="304"/>
                  <a:pt x="394" y="304"/>
                </a:cubicBezTo>
                <a:cubicBezTo>
                  <a:pt x="394" y="298"/>
                  <a:pt x="394" y="296"/>
                  <a:pt x="388" y="295"/>
                </a:cubicBezTo>
                <a:cubicBezTo>
                  <a:pt x="385" y="294"/>
                  <a:pt x="385" y="294"/>
                  <a:pt x="385" y="294"/>
                </a:cubicBezTo>
                <a:cubicBezTo>
                  <a:pt x="374" y="284"/>
                  <a:pt x="361" y="282"/>
                  <a:pt x="363" y="300"/>
                </a:cubicBezTo>
                <a:cubicBezTo>
                  <a:pt x="370" y="305"/>
                  <a:pt x="378" y="314"/>
                  <a:pt x="386" y="317"/>
                </a:cubicBezTo>
                <a:cubicBezTo>
                  <a:pt x="393" y="318"/>
                  <a:pt x="396" y="313"/>
                  <a:pt x="401" y="319"/>
                </a:cubicBezTo>
                <a:cubicBezTo>
                  <a:pt x="413" y="335"/>
                  <a:pt x="402" y="377"/>
                  <a:pt x="423" y="385"/>
                </a:cubicBezTo>
                <a:cubicBezTo>
                  <a:pt x="435" y="389"/>
                  <a:pt x="437" y="381"/>
                  <a:pt x="445" y="376"/>
                </a:cubicBezTo>
                <a:cubicBezTo>
                  <a:pt x="451" y="379"/>
                  <a:pt x="452" y="384"/>
                  <a:pt x="459" y="386"/>
                </a:cubicBezTo>
                <a:close/>
                <a:moveTo>
                  <a:pt x="392" y="199"/>
                </a:moveTo>
                <a:cubicBezTo>
                  <a:pt x="391" y="200"/>
                  <a:pt x="388" y="200"/>
                  <a:pt x="386" y="203"/>
                </a:cubicBezTo>
                <a:cubicBezTo>
                  <a:pt x="385" y="206"/>
                  <a:pt x="387" y="218"/>
                  <a:pt x="387" y="220"/>
                </a:cubicBezTo>
                <a:cubicBezTo>
                  <a:pt x="391" y="220"/>
                  <a:pt x="394" y="221"/>
                  <a:pt x="397" y="219"/>
                </a:cubicBezTo>
                <a:cubicBezTo>
                  <a:pt x="401" y="224"/>
                  <a:pt x="400" y="233"/>
                  <a:pt x="407" y="235"/>
                </a:cubicBezTo>
                <a:cubicBezTo>
                  <a:pt x="413" y="237"/>
                  <a:pt x="422" y="231"/>
                  <a:pt x="425" y="227"/>
                </a:cubicBezTo>
                <a:cubicBezTo>
                  <a:pt x="433" y="217"/>
                  <a:pt x="456" y="195"/>
                  <a:pt x="453" y="181"/>
                </a:cubicBezTo>
                <a:cubicBezTo>
                  <a:pt x="452" y="174"/>
                  <a:pt x="441" y="168"/>
                  <a:pt x="436" y="164"/>
                </a:cubicBezTo>
                <a:cubicBezTo>
                  <a:pt x="431" y="161"/>
                  <a:pt x="424" y="158"/>
                  <a:pt x="420" y="154"/>
                </a:cubicBezTo>
                <a:cubicBezTo>
                  <a:pt x="412" y="146"/>
                  <a:pt x="402" y="97"/>
                  <a:pt x="385" y="106"/>
                </a:cubicBezTo>
                <a:cubicBezTo>
                  <a:pt x="390" y="105"/>
                  <a:pt x="390" y="105"/>
                  <a:pt x="390" y="105"/>
                </a:cubicBezTo>
                <a:cubicBezTo>
                  <a:pt x="384" y="110"/>
                  <a:pt x="376" y="121"/>
                  <a:pt x="377" y="129"/>
                </a:cubicBezTo>
                <a:cubicBezTo>
                  <a:pt x="377" y="141"/>
                  <a:pt x="387" y="146"/>
                  <a:pt x="379" y="159"/>
                </a:cubicBezTo>
                <a:cubicBezTo>
                  <a:pt x="358" y="156"/>
                  <a:pt x="372" y="175"/>
                  <a:pt x="374" y="187"/>
                </a:cubicBezTo>
                <a:cubicBezTo>
                  <a:pt x="385" y="190"/>
                  <a:pt x="406" y="179"/>
                  <a:pt x="392" y="199"/>
                </a:cubicBezTo>
                <a:close/>
                <a:moveTo>
                  <a:pt x="411" y="461"/>
                </a:moveTo>
                <a:cubicBezTo>
                  <a:pt x="419" y="458"/>
                  <a:pt x="436" y="419"/>
                  <a:pt x="428" y="413"/>
                </a:cubicBezTo>
                <a:cubicBezTo>
                  <a:pt x="418" y="405"/>
                  <a:pt x="404" y="420"/>
                  <a:pt x="398" y="405"/>
                </a:cubicBezTo>
                <a:cubicBezTo>
                  <a:pt x="393" y="394"/>
                  <a:pt x="371" y="427"/>
                  <a:pt x="370" y="432"/>
                </a:cubicBezTo>
                <a:cubicBezTo>
                  <a:pt x="367" y="442"/>
                  <a:pt x="369" y="458"/>
                  <a:pt x="370" y="468"/>
                </a:cubicBezTo>
                <a:cubicBezTo>
                  <a:pt x="382" y="469"/>
                  <a:pt x="376" y="489"/>
                  <a:pt x="385" y="495"/>
                </a:cubicBezTo>
                <a:cubicBezTo>
                  <a:pt x="396" y="486"/>
                  <a:pt x="388" y="477"/>
                  <a:pt x="392" y="466"/>
                </a:cubicBezTo>
                <a:cubicBezTo>
                  <a:pt x="396" y="453"/>
                  <a:pt x="401" y="465"/>
                  <a:pt x="411" y="461"/>
                </a:cubicBezTo>
                <a:close/>
                <a:moveTo>
                  <a:pt x="423" y="261"/>
                </a:moveTo>
                <a:cubicBezTo>
                  <a:pt x="423" y="264"/>
                  <a:pt x="423" y="264"/>
                  <a:pt x="423" y="264"/>
                </a:cubicBezTo>
                <a:cubicBezTo>
                  <a:pt x="417" y="262"/>
                  <a:pt x="413" y="266"/>
                  <a:pt x="412" y="271"/>
                </a:cubicBezTo>
                <a:cubicBezTo>
                  <a:pt x="417" y="273"/>
                  <a:pt x="422" y="274"/>
                  <a:pt x="427" y="274"/>
                </a:cubicBezTo>
                <a:cubicBezTo>
                  <a:pt x="429" y="269"/>
                  <a:pt x="427" y="264"/>
                  <a:pt x="423" y="261"/>
                </a:cubicBezTo>
                <a:close/>
                <a:moveTo>
                  <a:pt x="392" y="270"/>
                </a:moveTo>
                <a:cubicBezTo>
                  <a:pt x="404" y="262"/>
                  <a:pt x="388" y="253"/>
                  <a:pt x="380" y="255"/>
                </a:cubicBezTo>
                <a:cubicBezTo>
                  <a:pt x="373" y="255"/>
                  <a:pt x="365" y="257"/>
                  <a:pt x="367" y="264"/>
                </a:cubicBezTo>
                <a:cubicBezTo>
                  <a:pt x="373" y="264"/>
                  <a:pt x="376" y="266"/>
                  <a:pt x="380" y="267"/>
                </a:cubicBezTo>
                <a:cubicBezTo>
                  <a:pt x="384" y="268"/>
                  <a:pt x="387" y="273"/>
                  <a:pt x="392" y="270"/>
                </a:cubicBezTo>
                <a:close/>
                <a:moveTo>
                  <a:pt x="379" y="380"/>
                </a:moveTo>
                <a:cubicBezTo>
                  <a:pt x="393" y="380"/>
                  <a:pt x="398" y="360"/>
                  <a:pt x="388" y="352"/>
                </a:cubicBezTo>
                <a:cubicBezTo>
                  <a:pt x="372" y="338"/>
                  <a:pt x="355" y="379"/>
                  <a:pt x="379" y="380"/>
                </a:cubicBezTo>
                <a:close/>
                <a:moveTo>
                  <a:pt x="358" y="235"/>
                </a:moveTo>
                <a:cubicBezTo>
                  <a:pt x="359" y="243"/>
                  <a:pt x="352" y="246"/>
                  <a:pt x="360" y="254"/>
                </a:cubicBezTo>
                <a:cubicBezTo>
                  <a:pt x="364" y="253"/>
                  <a:pt x="367" y="249"/>
                  <a:pt x="369" y="245"/>
                </a:cubicBezTo>
                <a:cubicBezTo>
                  <a:pt x="373" y="247"/>
                  <a:pt x="375" y="246"/>
                  <a:pt x="379" y="245"/>
                </a:cubicBezTo>
                <a:cubicBezTo>
                  <a:pt x="379" y="235"/>
                  <a:pt x="368" y="202"/>
                  <a:pt x="353" y="213"/>
                </a:cubicBezTo>
                <a:cubicBezTo>
                  <a:pt x="353" y="213"/>
                  <a:pt x="353" y="213"/>
                  <a:pt x="353" y="213"/>
                </a:cubicBezTo>
                <a:cubicBezTo>
                  <a:pt x="346" y="221"/>
                  <a:pt x="356" y="228"/>
                  <a:pt x="358" y="235"/>
                </a:cubicBezTo>
                <a:close/>
                <a:moveTo>
                  <a:pt x="350" y="592"/>
                </a:moveTo>
                <a:cubicBezTo>
                  <a:pt x="346" y="587"/>
                  <a:pt x="339" y="572"/>
                  <a:pt x="332" y="584"/>
                </a:cubicBezTo>
                <a:cubicBezTo>
                  <a:pt x="328" y="587"/>
                  <a:pt x="328" y="596"/>
                  <a:pt x="329" y="601"/>
                </a:cubicBezTo>
                <a:cubicBezTo>
                  <a:pt x="313" y="603"/>
                  <a:pt x="312" y="616"/>
                  <a:pt x="323" y="624"/>
                </a:cubicBezTo>
                <a:cubicBezTo>
                  <a:pt x="331" y="629"/>
                  <a:pt x="348" y="634"/>
                  <a:pt x="357" y="633"/>
                </a:cubicBezTo>
                <a:cubicBezTo>
                  <a:pt x="366" y="631"/>
                  <a:pt x="371" y="624"/>
                  <a:pt x="365" y="616"/>
                </a:cubicBezTo>
                <a:cubicBezTo>
                  <a:pt x="368" y="608"/>
                  <a:pt x="354" y="599"/>
                  <a:pt x="350" y="592"/>
                </a:cubicBezTo>
                <a:close/>
                <a:moveTo>
                  <a:pt x="333" y="516"/>
                </a:moveTo>
                <a:cubicBezTo>
                  <a:pt x="336" y="514"/>
                  <a:pt x="336" y="508"/>
                  <a:pt x="339" y="505"/>
                </a:cubicBezTo>
                <a:cubicBezTo>
                  <a:pt x="342" y="502"/>
                  <a:pt x="347" y="503"/>
                  <a:pt x="350" y="500"/>
                </a:cubicBezTo>
                <a:cubicBezTo>
                  <a:pt x="361" y="492"/>
                  <a:pt x="360" y="477"/>
                  <a:pt x="358" y="465"/>
                </a:cubicBezTo>
                <a:cubicBezTo>
                  <a:pt x="356" y="465"/>
                  <a:pt x="354" y="465"/>
                  <a:pt x="353" y="465"/>
                </a:cubicBezTo>
                <a:cubicBezTo>
                  <a:pt x="355" y="455"/>
                  <a:pt x="347" y="452"/>
                  <a:pt x="340" y="449"/>
                </a:cubicBezTo>
                <a:cubicBezTo>
                  <a:pt x="340" y="437"/>
                  <a:pt x="356" y="431"/>
                  <a:pt x="351" y="417"/>
                </a:cubicBezTo>
                <a:cubicBezTo>
                  <a:pt x="343" y="415"/>
                  <a:pt x="340" y="422"/>
                  <a:pt x="334" y="421"/>
                </a:cubicBezTo>
                <a:cubicBezTo>
                  <a:pt x="328" y="420"/>
                  <a:pt x="326" y="411"/>
                  <a:pt x="321" y="414"/>
                </a:cubicBezTo>
                <a:cubicBezTo>
                  <a:pt x="314" y="412"/>
                  <a:pt x="306" y="419"/>
                  <a:pt x="305" y="426"/>
                </a:cubicBezTo>
                <a:cubicBezTo>
                  <a:pt x="310" y="429"/>
                  <a:pt x="310" y="432"/>
                  <a:pt x="304" y="434"/>
                </a:cubicBezTo>
                <a:cubicBezTo>
                  <a:pt x="306" y="433"/>
                  <a:pt x="314" y="450"/>
                  <a:pt x="312" y="454"/>
                </a:cubicBezTo>
                <a:cubicBezTo>
                  <a:pt x="305" y="466"/>
                  <a:pt x="298" y="453"/>
                  <a:pt x="297" y="445"/>
                </a:cubicBezTo>
                <a:cubicBezTo>
                  <a:pt x="280" y="465"/>
                  <a:pt x="309" y="486"/>
                  <a:pt x="317" y="504"/>
                </a:cubicBezTo>
                <a:cubicBezTo>
                  <a:pt x="321" y="515"/>
                  <a:pt x="324" y="525"/>
                  <a:pt x="333" y="516"/>
                </a:cubicBezTo>
                <a:close/>
                <a:moveTo>
                  <a:pt x="335" y="307"/>
                </a:moveTo>
                <a:cubicBezTo>
                  <a:pt x="332" y="306"/>
                  <a:pt x="329" y="301"/>
                  <a:pt x="325" y="301"/>
                </a:cubicBezTo>
                <a:cubicBezTo>
                  <a:pt x="325" y="303"/>
                  <a:pt x="325" y="303"/>
                  <a:pt x="325" y="303"/>
                </a:cubicBezTo>
                <a:cubicBezTo>
                  <a:pt x="319" y="312"/>
                  <a:pt x="330" y="319"/>
                  <a:pt x="329" y="329"/>
                </a:cubicBezTo>
                <a:cubicBezTo>
                  <a:pt x="320" y="330"/>
                  <a:pt x="318" y="315"/>
                  <a:pt x="313" y="310"/>
                </a:cubicBezTo>
                <a:cubicBezTo>
                  <a:pt x="313" y="316"/>
                  <a:pt x="313" y="322"/>
                  <a:pt x="311" y="328"/>
                </a:cubicBezTo>
                <a:cubicBezTo>
                  <a:pt x="309" y="332"/>
                  <a:pt x="301" y="338"/>
                  <a:pt x="301" y="342"/>
                </a:cubicBezTo>
                <a:cubicBezTo>
                  <a:pt x="300" y="357"/>
                  <a:pt x="322" y="335"/>
                  <a:pt x="327" y="343"/>
                </a:cubicBezTo>
                <a:cubicBezTo>
                  <a:pt x="330" y="349"/>
                  <a:pt x="307" y="375"/>
                  <a:pt x="334" y="372"/>
                </a:cubicBezTo>
                <a:cubicBezTo>
                  <a:pt x="349" y="371"/>
                  <a:pt x="349" y="352"/>
                  <a:pt x="351" y="340"/>
                </a:cubicBezTo>
                <a:cubicBezTo>
                  <a:pt x="353" y="333"/>
                  <a:pt x="356" y="318"/>
                  <a:pt x="352" y="312"/>
                </a:cubicBezTo>
                <a:cubicBezTo>
                  <a:pt x="349" y="306"/>
                  <a:pt x="347" y="307"/>
                  <a:pt x="343" y="306"/>
                </a:cubicBezTo>
                <a:cubicBezTo>
                  <a:pt x="342" y="305"/>
                  <a:pt x="337" y="307"/>
                  <a:pt x="335" y="307"/>
                </a:cubicBezTo>
                <a:close/>
                <a:moveTo>
                  <a:pt x="325" y="237"/>
                </a:moveTo>
                <a:cubicBezTo>
                  <a:pt x="334" y="245"/>
                  <a:pt x="335" y="259"/>
                  <a:pt x="337" y="243"/>
                </a:cubicBezTo>
                <a:cubicBezTo>
                  <a:pt x="338" y="233"/>
                  <a:pt x="338" y="215"/>
                  <a:pt x="334" y="205"/>
                </a:cubicBezTo>
                <a:cubicBezTo>
                  <a:pt x="329" y="195"/>
                  <a:pt x="318" y="187"/>
                  <a:pt x="307" y="188"/>
                </a:cubicBezTo>
                <a:cubicBezTo>
                  <a:pt x="302" y="186"/>
                  <a:pt x="302" y="186"/>
                  <a:pt x="302" y="186"/>
                </a:cubicBezTo>
                <a:cubicBezTo>
                  <a:pt x="303" y="186"/>
                  <a:pt x="303" y="185"/>
                  <a:pt x="301" y="185"/>
                </a:cubicBezTo>
                <a:cubicBezTo>
                  <a:pt x="295" y="194"/>
                  <a:pt x="291" y="212"/>
                  <a:pt x="298" y="222"/>
                </a:cubicBezTo>
                <a:cubicBezTo>
                  <a:pt x="304" y="231"/>
                  <a:pt x="317" y="230"/>
                  <a:pt x="325" y="237"/>
                </a:cubicBezTo>
                <a:close/>
                <a:moveTo>
                  <a:pt x="114" y="590"/>
                </a:moveTo>
                <a:cubicBezTo>
                  <a:pt x="113" y="593"/>
                  <a:pt x="114" y="595"/>
                  <a:pt x="116" y="598"/>
                </a:cubicBezTo>
                <a:cubicBezTo>
                  <a:pt x="134" y="600"/>
                  <a:pt x="152" y="609"/>
                  <a:pt x="170" y="603"/>
                </a:cubicBezTo>
                <a:cubicBezTo>
                  <a:pt x="179" y="599"/>
                  <a:pt x="185" y="599"/>
                  <a:pt x="194" y="597"/>
                </a:cubicBezTo>
                <a:cubicBezTo>
                  <a:pt x="202" y="596"/>
                  <a:pt x="206" y="585"/>
                  <a:pt x="214" y="586"/>
                </a:cubicBezTo>
                <a:cubicBezTo>
                  <a:pt x="221" y="586"/>
                  <a:pt x="232" y="599"/>
                  <a:pt x="240" y="603"/>
                </a:cubicBezTo>
                <a:cubicBezTo>
                  <a:pt x="240" y="603"/>
                  <a:pt x="239" y="605"/>
                  <a:pt x="239" y="605"/>
                </a:cubicBezTo>
                <a:cubicBezTo>
                  <a:pt x="251" y="613"/>
                  <a:pt x="263" y="607"/>
                  <a:pt x="274" y="613"/>
                </a:cubicBezTo>
                <a:cubicBezTo>
                  <a:pt x="277" y="606"/>
                  <a:pt x="277" y="599"/>
                  <a:pt x="280" y="593"/>
                </a:cubicBezTo>
                <a:cubicBezTo>
                  <a:pt x="271" y="594"/>
                  <a:pt x="265" y="588"/>
                  <a:pt x="268" y="580"/>
                </a:cubicBezTo>
                <a:cubicBezTo>
                  <a:pt x="276" y="581"/>
                  <a:pt x="296" y="585"/>
                  <a:pt x="300" y="576"/>
                </a:cubicBezTo>
                <a:cubicBezTo>
                  <a:pt x="307" y="561"/>
                  <a:pt x="281" y="552"/>
                  <a:pt x="274" y="543"/>
                </a:cubicBezTo>
                <a:cubicBezTo>
                  <a:pt x="262" y="529"/>
                  <a:pt x="264" y="521"/>
                  <a:pt x="262" y="505"/>
                </a:cubicBezTo>
                <a:cubicBezTo>
                  <a:pt x="260" y="494"/>
                  <a:pt x="255" y="486"/>
                  <a:pt x="254" y="475"/>
                </a:cubicBezTo>
                <a:cubicBezTo>
                  <a:pt x="254" y="466"/>
                  <a:pt x="256" y="457"/>
                  <a:pt x="255" y="448"/>
                </a:cubicBezTo>
                <a:cubicBezTo>
                  <a:pt x="245" y="438"/>
                  <a:pt x="228" y="410"/>
                  <a:pt x="224" y="440"/>
                </a:cubicBezTo>
                <a:cubicBezTo>
                  <a:pt x="223" y="446"/>
                  <a:pt x="226" y="495"/>
                  <a:pt x="213" y="491"/>
                </a:cubicBezTo>
                <a:cubicBezTo>
                  <a:pt x="201" y="487"/>
                  <a:pt x="217" y="443"/>
                  <a:pt x="207" y="439"/>
                </a:cubicBezTo>
                <a:cubicBezTo>
                  <a:pt x="204" y="438"/>
                  <a:pt x="201" y="439"/>
                  <a:pt x="197" y="441"/>
                </a:cubicBezTo>
                <a:cubicBezTo>
                  <a:pt x="182" y="502"/>
                  <a:pt x="171" y="546"/>
                  <a:pt x="171" y="546"/>
                </a:cubicBezTo>
                <a:cubicBezTo>
                  <a:pt x="171" y="546"/>
                  <a:pt x="112" y="538"/>
                  <a:pt x="80" y="525"/>
                </a:cubicBezTo>
                <a:cubicBezTo>
                  <a:pt x="77" y="534"/>
                  <a:pt x="84" y="550"/>
                  <a:pt x="88" y="561"/>
                </a:cubicBezTo>
                <a:cubicBezTo>
                  <a:pt x="104" y="558"/>
                  <a:pt x="116" y="577"/>
                  <a:pt x="114" y="590"/>
                </a:cubicBezTo>
                <a:close/>
                <a:moveTo>
                  <a:pt x="237" y="358"/>
                </a:moveTo>
                <a:cubicBezTo>
                  <a:pt x="248" y="359"/>
                  <a:pt x="258" y="359"/>
                  <a:pt x="266" y="352"/>
                </a:cubicBezTo>
                <a:cubicBezTo>
                  <a:pt x="272" y="346"/>
                  <a:pt x="282" y="330"/>
                  <a:pt x="276" y="322"/>
                </a:cubicBezTo>
                <a:cubicBezTo>
                  <a:pt x="271" y="314"/>
                  <a:pt x="257" y="317"/>
                  <a:pt x="250" y="310"/>
                </a:cubicBezTo>
                <a:cubicBezTo>
                  <a:pt x="249" y="310"/>
                  <a:pt x="248" y="310"/>
                  <a:pt x="247" y="310"/>
                </a:cubicBezTo>
                <a:cubicBezTo>
                  <a:pt x="246" y="304"/>
                  <a:pt x="250" y="287"/>
                  <a:pt x="246" y="283"/>
                </a:cubicBezTo>
                <a:cubicBezTo>
                  <a:pt x="230" y="268"/>
                  <a:pt x="235" y="329"/>
                  <a:pt x="235" y="329"/>
                </a:cubicBezTo>
                <a:cubicBezTo>
                  <a:pt x="232" y="331"/>
                  <a:pt x="228" y="331"/>
                  <a:pt x="225" y="329"/>
                </a:cubicBezTo>
                <a:cubicBezTo>
                  <a:pt x="222" y="338"/>
                  <a:pt x="220" y="348"/>
                  <a:pt x="218" y="357"/>
                </a:cubicBezTo>
                <a:cubicBezTo>
                  <a:pt x="224" y="356"/>
                  <a:pt x="229" y="357"/>
                  <a:pt x="237" y="358"/>
                </a:cubicBezTo>
                <a:close/>
                <a:moveTo>
                  <a:pt x="245" y="416"/>
                </a:moveTo>
                <a:cubicBezTo>
                  <a:pt x="240" y="423"/>
                  <a:pt x="252" y="435"/>
                  <a:pt x="256" y="441"/>
                </a:cubicBezTo>
                <a:cubicBezTo>
                  <a:pt x="257" y="444"/>
                  <a:pt x="267" y="426"/>
                  <a:pt x="266" y="422"/>
                </a:cubicBezTo>
                <a:cubicBezTo>
                  <a:pt x="264" y="414"/>
                  <a:pt x="251" y="408"/>
                  <a:pt x="245" y="416"/>
                </a:cubicBezTo>
                <a:close/>
                <a:moveTo>
                  <a:pt x="176" y="628"/>
                </a:moveTo>
                <a:cubicBezTo>
                  <a:pt x="181" y="631"/>
                  <a:pt x="189" y="623"/>
                  <a:pt x="193" y="622"/>
                </a:cubicBezTo>
                <a:cubicBezTo>
                  <a:pt x="198" y="620"/>
                  <a:pt x="203" y="621"/>
                  <a:pt x="209" y="622"/>
                </a:cubicBezTo>
                <a:cubicBezTo>
                  <a:pt x="211" y="613"/>
                  <a:pt x="221" y="617"/>
                  <a:pt x="224" y="609"/>
                </a:cubicBezTo>
                <a:cubicBezTo>
                  <a:pt x="221" y="605"/>
                  <a:pt x="215" y="604"/>
                  <a:pt x="211" y="606"/>
                </a:cubicBezTo>
                <a:cubicBezTo>
                  <a:pt x="217" y="606"/>
                  <a:pt x="217" y="606"/>
                  <a:pt x="217" y="606"/>
                </a:cubicBezTo>
                <a:cubicBezTo>
                  <a:pt x="214" y="606"/>
                  <a:pt x="156" y="615"/>
                  <a:pt x="176" y="628"/>
                </a:cubicBezTo>
                <a:close/>
              </a:path>
            </a:pathLst>
          </a:custGeom>
          <a:solidFill>
            <a:srgbClr val="C00000"/>
          </a:solidFill>
          <a:ln w="6350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" name="Freeform 4029">
            <a:extLst>
              <a:ext uri="{FF2B5EF4-FFF2-40B4-BE49-F238E27FC236}">
                <a16:creationId xmlns:a16="http://schemas.microsoft.com/office/drawing/2014/main" id="{059260FF-F479-410D-97C5-238CCDAA3DA1}"/>
              </a:ext>
            </a:extLst>
          </p:cNvPr>
          <p:cNvSpPr>
            <a:spLocks noEditPoints="1"/>
          </p:cNvSpPr>
          <p:nvPr/>
        </p:nvSpPr>
        <p:spPr bwMode="auto">
          <a:xfrm>
            <a:off x="1298604" y="2055914"/>
            <a:ext cx="1359289" cy="2112156"/>
          </a:xfrm>
          <a:custGeom>
            <a:avLst/>
            <a:gdLst/>
            <a:ahLst/>
            <a:cxnLst>
              <a:cxn ang="0">
                <a:pos x="503" y="17"/>
              </a:cxn>
              <a:cxn ang="0">
                <a:pos x="505" y="8"/>
              </a:cxn>
              <a:cxn ang="0">
                <a:pos x="376" y="561"/>
              </a:cxn>
              <a:cxn ang="0">
                <a:pos x="337" y="521"/>
              </a:cxn>
              <a:cxn ang="0">
                <a:pos x="284" y="427"/>
              </a:cxn>
              <a:cxn ang="0">
                <a:pos x="272" y="334"/>
              </a:cxn>
              <a:cxn ang="0">
                <a:pos x="250" y="306"/>
              </a:cxn>
              <a:cxn ang="0">
                <a:pos x="213" y="296"/>
              </a:cxn>
              <a:cxn ang="0">
                <a:pos x="149" y="242"/>
              </a:cxn>
              <a:cxn ang="0">
                <a:pos x="107" y="225"/>
              </a:cxn>
              <a:cxn ang="0">
                <a:pos x="80" y="240"/>
              </a:cxn>
              <a:cxn ang="0">
                <a:pos x="38" y="174"/>
              </a:cxn>
              <a:cxn ang="0">
                <a:pos x="36" y="288"/>
              </a:cxn>
              <a:cxn ang="0">
                <a:pos x="30" y="354"/>
              </a:cxn>
              <a:cxn ang="0">
                <a:pos x="46" y="368"/>
              </a:cxn>
              <a:cxn ang="0">
                <a:pos x="20" y="414"/>
              </a:cxn>
              <a:cxn ang="0">
                <a:pos x="32" y="456"/>
              </a:cxn>
              <a:cxn ang="0">
                <a:pos x="21" y="484"/>
              </a:cxn>
              <a:cxn ang="0">
                <a:pos x="6" y="538"/>
              </a:cxn>
              <a:cxn ang="0">
                <a:pos x="26" y="581"/>
              </a:cxn>
              <a:cxn ang="0">
                <a:pos x="66" y="620"/>
              </a:cxn>
              <a:cxn ang="0">
                <a:pos x="62" y="652"/>
              </a:cxn>
              <a:cxn ang="0">
                <a:pos x="329" y="743"/>
              </a:cxn>
              <a:cxn ang="0">
                <a:pos x="492" y="699"/>
              </a:cxn>
              <a:cxn ang="0">
                <a:pos x="430" y="577"/>
              </a:cxn>
              <a:cxn ang="0">
                <a:pos x="488" y="58"/>
              </a:cxn>
              <a:cxn ang="0">
                <a:pos x="487" y="29"/>
              </a:cxn>
              <a:cxn ang="0">
                <a:pos x="488" y="58"/>
              </a:cxn>
              <a:cxn ang="0">
                <a:pos x="415" y="106"/>
              </a:cxn>
              <a:cxn ang="0">
                <a:pos x="410" y="116"/>
              </a:cxn>
              <a:cxn ang="0">
                <a:pos x="408" y="138"/>
              </a:cxn>
              <a:cxn ang="0">
                <a:pos x="432" y="143"/>
              </a:cxn>
              <a:cxn ang="0">
                <a:pos x="423" y="160"/>
              </a:cxn>
              <a:cxn ang="0">
                <a:pos x="458" y="166"/>
              </a:cxn>
              <a:cxn ang="0">
                <a:pos x="474" y="135"/>
              </a:cxn>
              <a:cxn ang="0">
                <a:pos x="447" y="102"/>
              </a:cxn>
              <a:cxn ang="0">
                <a:pos x="386" y="94"/>
              </a:cxn>
              <a:cxn ang="0">
                <a:pos x="400" y="80"/>
              </a:cxn>
              <a:cxn ang="0">
                <a:pos x="417" y="81"/>
              </a:cxn>
              <a:cxn ang="0">
                <a:pos x="440" y="40"/>
              </a:cxn>
              <a:cxn ang="0">
                <a:pos x="421" y="38"/>
              </a:cxn>
              <a:cxn ang="0">
                <a:pos x="404" y="44"/>
              </a:cxn>
              <a:cxn ang="0">
                <a:pos x="362" y="66"/>
              </a:cxn>
              <a:cxn ang="0">
                <a:pos x="396" y="340"/>
              </a:cxn>
              <a:cxn ang="0">
                <a:pos x="329" y="331"/>
              </a:cxn>
              <a:cxn ang="0">
                <a:pos x="446" y="247"/>
              </a:cxn>
              <a:cxn ang="0">
                <a:pos x="422" y="258"/>
              </a:cxn>
              <a:cxn ang="0">
                <a:pos x="412" y="230"/>
              </a:cxn>
              <a:cxn ang="0">
                <a:pos x="400" y="229"/>
              </a:cxn>
              <a:cxn ang="0">
                <a:pos x="350" y="229"/>
              </a:cxn>
              <a:cxn ang="0">
                <a:pos x="332" y="261"/>
              </a:cxn>
              <a:cxn ang="0">
                <a:pos x="328" y="296"/>
              </a:cxn>
              <a:cxn ang="0">
                <a:pos x="396" y="340"/>
              </a:cxn>
              <a:cxn ang="0">
                <a:pos x="266" y="250"/>
              </a:cxn>
              <a:cxn ang="0">
                <a:pos x="321" y="233"/>
              </a:cxn>
              <a:cxn ang="0">
                <a:pos x="385" y="207"/>
              </a:cxn>
              <a:cxn ang="0">
                <a:pos x="358" y="155"/>
              </a:cxn>
              <a:cxn ang="0">
                <a:pos x="348" y="138"/>
              </a:cxn>
              <a:cxn ang="0">
                <a:pos x="314" y="130"/>
              </a:cxn>
              <a:cxn ang="0">
                <a:pos x="275" y="188"/>
              </a:cxn>
              <a:cxn ang="0">
                <a:pos x="268" y="228"/>
              </a:cxn>
            </a:cxnLst>
            <a:rect l="0" t="0" r="r" b="b"/>
            <a:pathLst>
              <a:path w="506" h="769">
                <a:moveTo>
                  <a:pt x="475" y="13"/>
                </a:moveTo>
                <a:cubicBezTo>
                  <a:pt x="478" y="24"/>
                  <a:pt x="495" y="23"/>
                  <a:pt x="503" y="17"/>
                </a:cubicBezTo>
                <a:cubicBezTo>
                  <a:pt x="502" y="17"/>
                  <a:pt x="502" y="17"/>
                  <a:pt x="503" y="17"/>
                </a:cubicBezTo>
                <a:cubicBezTo>
                  <a:pt x="503" y="14"/>
                  <a:pt x="504" y="11"/>
                  <a:pt x="505" y="8"/>
                </a:cubicBezTo>
                <a:cubicBezTo>
                  <a:pt x="500" y="0"/>
                  <a:pt x="480" y="10"/>
                  <a:pt x="475" y="13"/>
                </a:cubicBezTo>
                <a:close/>
                <a:moveTo>
                  <a:pt x="376" y="561"/>
                </a:moveTo>
                <a:cubicBezTo>
                  <a:pt x="374" y="552"/>
                  <a:pt x="375" y="538"/>
                  <a:pt x="368" y="532"/>
                </a:cubicBezTo>
                <a:cubicBezTo>
                  <a:pt x="360" y="524"/>
                  <a:pt x="346" y="529"/>
                  <a:pt x="337" y="521"/>
                </a:cubicBezTo>
                <a:cubicBezTo>
                  <a:pt x="325" y="510"/>
                  <a:pt x="317" y="489"/>
                  <a:pt x="305" y="476"/>
                </a:cubicBezTo>
                <a:cubicBezTo>
                  <a:pt x="292" y="461"/>
                  <a:pt x="298" y="443"/>
                  <a:pt x="284" y="427"/>
                </a:cubicBezTo>
                <a:cubicBezTo>
                  <a:pt x="272" y="413"/>
                  <a:pt x="251" y="403"/>
                  <a:pt x="250" y="384"/>
                </a:cubicBezTo>
                <a:cubicBezTo>
                  <a:pt x="249" y="372"/>
                  <a:pt x="262" y="341"/>
                  <a:pt x="272" y="334"/>
                </a:cubicBezTo>
                <a:cubicBezTo>
                  <a:pt x="273" y="333"/>
                  <a:pt x="274" y="333"/>
                  <a:pt x="275" y="332"/>
                </a:cubicBezTo>
                <a:cubicBezTo>
                  <a:pt x="266" y="324"/>
                  <a:pt x="257" y="316"/>
                  <a:pt x="250" y="306"/>
                </a:cubicBezTo>
                <a:cubicBezTo>
                  <a:pt x="238" y="305"/>
                  <a:pt x="234" y="314"/>
                  <a:pt x="223" y="311"/>
                </a:cubicBezTo>
                <a:cubicBezTo>
                  <a:pt x="232" y="290"/>
                  <a:pt x="236" y="271"/>
                  <a:pt x="213" y="296"/>
                </a:cubicBezTo>
                <a:cubicBezTo>
                  <a:pt x="212" y="279"/>
                  <a:pt x="216" y="259"/>
                  <a:pt x="207" y="247"/>
                </a:cubicBezTo>
                <a:cubicBezTo>
                  <a:pt x="213" y="256"/>
                  <a:pt x="150" y="242"/>
                  <a:pt x="149" y="242"/>
                </a:cubicBezTo>
                <a:cubicBezTo>
                  <a:pt x="137" y="247"/>
                  <a:pt x="74" y="253"/>
                  <a:pt x="109" y="228"/>
                </a:cubicBezTo>
                <a:cubicBezTo>
                  <a:pt x="110" y="228"/>
                  <a:pt x="107" y="225"/>
                  <a:pt x="107" y="225"/>
                </a:cubicBezTo>
                <a:cubicBezTo>
                  <a:pt x="97" y="229"/>
                  <a:pt x="87" y="230"/>
                  <a:pt x="77" y="228"/>
                </a:cubicBezTo>
                <a:cubicBezTo>
                  <a:pt x="79" y="232"/>
                  <a:pt x="79" y="236"/>
                  <a:pt x="80" y="240"/>
                </a:cubicBezTo>
                <a:cubicBezTo>
                  <a:pt x="49" y="234"/>
                  <a:pt x="50" y="198"/>
                  <a:pt x="39" y="174"/>
                </a:cubicBezTo>
                <a:cubicBezTo>
                  <a:pt x="38" y="174"/>
                  <a:pt x="38" y="174"/>
                  <a:pt x="38" y="174"/>
                </a:cubicBezTo>
                <a:cubicBezTo>
                  <a:pt x="44" y="198"/>
                  <a:pt x="54" y="223"/>
                  <a:pt x="65" y="240"/>
                </a:cubicBezTo>
                <a:cubicBezTo>
                  <a:pt x="56" y="254"/>
                  <a:pt x="35" y="272"/>
                  <a:pt x="36" y="288"/>
                </a:cubicBezTo>
                <a:cubicBezTo>
                  <a:pt x="0" y="295"/>
                  <a:pt x="39" y="308"/>
                  <a:pt x="42" y="312"/>
                </a:cubicBezTo>
                <a:cubicBezTo>
                  <a:pt x="53" y="326"/>
                  <a:pt x="42" y="340"/>
                  <a:pt x="30" y="354"/>
                </a:cubicBezTo>
                <a:cubicBezTo>
                  <a:pt x="32" y="356"/>
                  <a:pt x="33" y="359"/>
                  <a:pt x="35" y="362"/>
                </a:cubicBezTo>
                <a:cubicBezTo>
                  <a:pt x="39" y="362"/>
                  <a:pt x="42" y="366"/>
                  <a:pt x="46" y="368"/>
                </a:cubicBezTo>
                <a:cubicBezTo>
                  <a:pt x="45" y="383"/>
                  <a:pt x="34" y="381"/>
                  <a:pt x="28" y="391"/>
                </a:cubicBezTo>
                <a:cubicBezTo>
                  <a:pt x="24" y="398"/>
                  <a:pt x="20" y="407"/>
                  <a:pt x="20" y="414"/>
                </a:cubicBezTo>
                <a:cubicBezTo>
                  <a:pt x="21" y="427"/>
                  <a:pt x="29" y="423"/>
                  <a:pt x="35" y="432"/>
                </a:cubicBezTo>
                <a:cubicBezTo>
                  <a:pt x="33" y="443"/>
                  <a:pt x="30" y="446"/>
                  <a:pt x="32" y="456"/>
                </a:cubicBezTo>
                <a:cubicBezTo>
                  <a:pt x="33" y="462"/>
                  <a:pt x="37" y="466"/>
                  <a:pt x="33" y="473"/>
                </a:cubicBezTo>
                <a:cubicBezTo>
                  <a:pt x="31" y="478"/>
                  <a:pt x="23" y="480"/>
                  <a:pt x="21" y="484"/>
                </a:cubicBezTo>
                <a:cubicBezTo>
                  <a:pt x="18" y="491"/>
                  <a:pt x="23" y="499"/>
                  <a:pt x="22" y="506"/>
                </a:cubicBezTo>
                <a:cubicBezTo>
                  <a:pt x="21" y="521"/>
                  <a:pt x="11" y="526"/>
                  <a:pt x="6" y="538"/>
                </a:cubicBezTo>
                <a:cubicBezTo>
                  <a:pt x="12" y="539"/>
                  <a:pt x="19" y="534"/>
                  <a:pt x="25" y="532"/>
                </a:cubicBezTo>
                <a:cubicBezTo>
                  <a:pt x="34" y="547"/>
                  <a:pt x="24" y="565"/>
                  <a:pt x="26" y="581"/>
                </a:cubicBezTo>
                <a:cubicBezTo>
                  <a:pt x="29" y="600"/>
                  <a:pt x="44" y="603"/>
                  <a:pt x="58" y="611"/>
                </a:cubicBezTo>
                <a:cubicBezTo>
                  <a:pt x="65" y="615"/>
                  <a:pt x="65" y="610"/>
                  <a:pt x="66" y="620"/>
                </a:cubicBezTo>
                <a:cubicBezTo>
                  <a:pt x="67" y="625"/>
                  <a:pt x="64" y="631"/>
                  <a:pt x="63" y="636"/>
                </a:cubicBezTo>
                <a:cubicBezTo>
                  <a:pt x="62" y="641"/>
                  <a:pt x="62" y="647"/>
                  <a:pt x="62" y="652"/>
                </a:cubicBezTo>
                <a:cubicBezTo>
                  <a:pt x="85" y="663"/>
                  <a:pt x="109" y="673"/>
                  <a:pt x="135" y="683"/>
                </a:cubicBezTo>
                <a:cubicBezTo>
                  <a:pt x="193" y="706"/>
                  <a:pt x="258" y="727"/>
                  <a:pt x="329" y="743"/>
                </a:cubicBezTo>
                <a:cubicBezTo>
                  <a:pt x="377" y="754"/>
                  <a:pt x="429" y="763"/>
                  <a:pt x="483" y="769"/>
                </a:cubicBezTo>
                <a:cubicBezTo>
                  <a:pt x="485" y="746"/>
                  <a:pt x="489" y="722"/>
                  <a:pt x="492" y="699"/>
                </a:cubicBezTo>
                <a:cubicBezTo>
                  <a:pt x="497" y="673"/>
                  <a:pt x="499" y="611"/>
                  <a:pt x="499" y="611"/>
                </a:cubicBezTo>
                <a:cubicBezTo>
                  <a:pt x="499" y="611"/>
                  <a:pt x="456" y="585"/>
                  <a:pt x="430" y="577"/>
                </a:cubicBezTo>
                <a:cubicBezTo>
                  <a:pt x="412" y="571"/>
                  <a:pt x="393" y="567"/>
                  <a:pt x="376" y="561"/>
                </a:cubicBezTo>
                <a:close/>
                <a:moveTo>
                  <a:pt x="488" y="58"/>
                </a:moveTo>
                <a:cubicBezTo>
                  <a:pt x="494" y="53"/>
                  <a:pt x="506" y="21"/>
                  <a:pt x="487" y="30"/>
                </a:cubicBezTo>
                <a:cubicBezTo>
                  <a:pt x="487" y="29"/>
                  <a:pt x="487" y="29"/>
                  <a:pt x="487" y="29"/>
                </a:cubicBezTo>
                <a:cubicBezTo>
                  <a:pt x="477" y="34"/>
                  <a:pt x="469" y="33"/>
                  <a:pt x="468" y="45"/>
                </a:cubicBezTo>
                <a:cubicBezTo>
                  <a:pt x="466" y="65"/>
                  <a:pt x="478" y="52"/>
                  <a:pt x="488" y="58"/>
                </a:cubicBezTo>
                <a:close/>
                <a:moveTo>
                  <a:pt x="411" y="104"/>
                </a:moveTo>
                <a:cubicBezTo>
                  <a:pt x="412" y="105"/>
                  <a:pt x="413" y="106"/>
                  <a:pt x="415" y="106"/>
                </a:cubicBezTo>
                <a:cubicBezTo>
                  <a:pt x="415" y="107"/>
                  <a:pt x="410" y="111"/>
                  <a:pt x="408" y="112"/>
                </a:cubicBezTo>
                <a:cubicBezTo>
                  <a:pt x="409" y="113"/>
                  <a:pt x="409" y="115"/>
                  <a:pt x="410" y="116"/>
                </a:cubicBezTo>
                <a:cubicBezTo>
                  <a:pt x="402" y="120"/>
                  <a:pt x="395" y="117"/>
                  <a:pt x="397" y="127"/>
                </a:cubicBezTo>
                <a:cubicBezTo>
                  <a:pt x="398" y="132"/>
                  <a:pt x="405" y="136"/>
                  <a:pt x="408" y="138"/>
                </a:cubicBezTo>
                <a:cubicBezTo>
                  <a:pt x="415" y="143"/>
                  <a:pt x="416" y="142"/>
                  <a:pt x="422" y="141"/>
                </a:cubicBezTo>
                <a:cubicBezTo>
                  <a:pt x="426" y="141"/>
                  <a:pt x="432" y="130"/>
                  <a:pt x="432" y="143"/>
                </a:cubicBezTo>
                <a:cubicBezTo>
                  <a:pt x="437" y="146"/>
                  <a:pt x="462" y="140"/>
                  <a:pt x="457" y="153"/>
                </a:cubicBezTo>
                <a:cubicBezTo>
                  <a:pt x="455" y="159"/>
                  <a:pt x="429" y="161"/>
                  <a:pt x="423" y="160"/>
                </a:cubicBezTo>
                <a:cubicBezTo>
                  <a:pt x="422" y="163"/>
                  <a:pt x="422" y="165"/>
                  <a:pt x="423" y="168"/>
                </a:cubicBezTo>
                <a:cubicBezTo>
                  <a:pt x="437" y="176"/>
                  <a:pt x="445" y="172"/>
                  <a:pt x="458" y="166"/>
                </a:cubicBezTo>
                <a:cubicBezTo>
                  <a:pt x="461" y="164"/>
                  <a:pt x="464" y="163"/>
                  <a:pt x="467" y="163"/>
                </a:cubicBezTo>
                <a:cubicBezTo>
                  <a:pt x="469" y="154"/>
                  <a:pt x="471" y="144"/>
                  <a:pt x="474" y="135"/>
                </a:cubicBezTo>
                <a:cubicBezTo>
                  <a:pt x="469" y="132"/>
                  <a:pt x="465" y="129"/>
                  <a:pt x="464" y="126"/>
                </a:cubicBezTo>
                <a:cubicBezTo>
                  <a:pt x="458" y="118"/>
                  <a:pt x="462" y="99"/>
                  <a:pt x="447" y="102"/>
                </a:cubicBezTo>
                <a:cubicBezTo>
                  <a:pt x="456" y="77"/>
                  <a:pt x="417" y="89"/>
                  <a:pt x="411" y="104"/>
                </a:cubicBezTo>
                <a:close/>
                <a:moveTo>
                  <a:pt x="386" y="94"/>
                </a:moveTo>
                <a:cubicBezTo>
                  <a:pt x="390" y="91"/>
                  <a:pt x="387" y="86"/>
                  <a:pt x="390" y="83"/>
                </a:cubicBezTo>
                <a:cubicBezTo>
                  <a:pt x="393" y="80"/>
                  <a:pt x="397" y="83"/>
                  <a:pt x="400" y="80"/>
                </a:cubicBezTo>
                <a:cubicBezTo>
                  <a:pt x="402" y="76"/>
                  <a:pt x="404" y="59"/>
                  <a:pt x="412" y="62"/>
                </a:cubicBezTo>
                <a:cubicBezTo>
                  <a:pt x="420" y="65"/>
                  <a:pt x="405" y="80"/>
                  <a:pt x="417" y="81"/>
                </a:cubicBezTo>
                <a:cubicBezTo>
                  <a:pt x="422" y="81"/>
                  <a:pt x="431" y="68"/>
                  <a:pt x="432" y="64"/>
                </a:cubicBezTo>
                <a:cubicBezTo>
                  <a:pt x="435" y="57"/>
                  <a:pt x="438" y="48"/>
                  <a:pt x="440" y="40"/>
                </a:cubicBezTo>
                <a:cubicBezTo>
                  <a:pt x="436" y="38"/>
                  <a:pt x="433" y="41"/>
                  <a:pt x="430" y="40"/>
                </a:cubicBezTo>
                <a:cubicBezTo>
                  <a:pt x="429" y="40"/>
                  <a:pt x="422" y="38"/>
                  <a:pt x="421" y="38"/>
                </a:cubicBezTo>
                <a:cubicBezTo>
                  <a:pt x="414" y="37"/>
                  <a:pt x="408" y="40"/>
                  <a:pt x="401" y="45"/>
                </a:cubicBezTo>
                <a:cubicBezTo>
                  <a:pt x="404" y="44"/>
                  <a:pt x="404" y="44"/>
                  <a:pt x="404" y="44"/>
                </a:cubicBezTo>
                <a:cubicBezTo>
                  <a:pt x="399" y="49"/>
                  <a:pt x="393" y="55"/>
                  <a:pt x="387" y="58"/>
                </a:cubicBezTo>
                <a:cubicBezTo>
                  <a:pt x="380" y="62"/>
                  <a:pt x="367" y="60"/>
                  <a:pt x="362" y="66"/>
                </a:cubicBezTo>
                <a:cubicBezTo>
                  <a:pt x="348" y="80"/>
                  <a:pt x="381" y="82"/>
                  <a:pt x="386" y="94"/>
                </a:cubicBezTo>
                <a:close/>
                <a:moveTo>
                  <a:pt x="396" y="340"/>
                </a:moveTo>
                <a:cubicBezTo>
                  <a:pt x="384" y="346"/>
                  <a:pt x="361" y="323"/>
                  <a:pt x="347" y="322"/>
                </a:cubicBezTo>
                <a:cubicBezTo>
                  <a:pt x="336" y="322"/>
                  <a:pt x="330" y="325"/>
                  <a:pt x="329" y="331"/>
                </a:cubicBezTo>
                <a:cubicBezTo>
                  <a:pt x="361" y="344"/>
                  <a:pt x="420" y="352"/>
                  <a:pt x="420" y="352"/>
                </a:cubicBezTo>
                <a:cubicBezTo>
                  <a:pt x="420" y="352"/>
                  <a:pt x="431" y="308"/>
                  <a:pt x="446" y="247"/>
                </a:cubicBezTo>
                <a:cubicBezTo>
                  <a:pt x="440" y="250"/>
                  <a:pt x="434" y="255"/>
                  <a:pt x="432" y="258"/>
                </a:cubicBezTo>
                <a:cubicBezTo>
                  <a:pt x="429" y="258"/>
                  <a:pt x="425" y="258"/>
                  <a:pt x="422" y="258"/>
                </a:cubicBezTo>
                <a:cubicBezTo>
                  <a:pt x="422" y="258"/>
                  <a:pt x="422" y="258"/>
                  <a:pt x="422" y="258"/>
                </a:cubicBezTo>
                <a:cubicBezTo>
                  <a:pt x="421" y="247"/>
                  <a:pt x="434" y="227"/>
                  <a:pt x="412" y="230"/>
                </a:cubicBezTo>
                <a:cubicBezTo>
                  <a:pt x="407" y="231"/>
                  <a:pt x="399" y="244"/>
                  <a:pt x="393" y="240"/>
                </a:cubicBezTo>
                <a:cubicBezTo>
                  <a:pt x="386" y="237"/>
                  <a:pt x="397" y="231"/>
                  <a:pt x="400" y="229"/>
                </a:cubicBezTo>
                <a:cubicBezTo>
                  <a:pt x="421" y="200"/>
                  <a:pt x="377" y="219"/>
                  <a:pt x="366" y="221"/>
                </a:cubicBezTo>
                <a:cubicBezTo>
                  <a:pt x="358" y="222"/>
                  <a:pt x="353" y="216"/>
                  <a:pt x="350" y="229"/>
                </a:cubicBezTo>
                <a:cubicBezTo>
                  <a:pt x="348" y="229"/>
                  <a:pt x="346" y="229"/>
                  <a:pt x="345" y="229"/>
                </a:cubicBezTo>
                <a:cubicBezTo>
                  <a:pt x="343" y="244"/>
                  <a:pt x="322" y="245"/>
                  <a:pt x="332" y="261"/>
                </a:cubicBezTo>
                <a:cubicBezTo>
                  <a:pt x="339" y="274"/>
                  <a:pt x="355" y="270"/>
                  <a:pt x="367" y="278"/>
                </a:cubicBezTo>
                <a:cubicBezTo>
                  <a:pt x="354" y="279"/>
                  <a:pt x="320" y="274"/>
                  <a:pt x="328" y="296"/>
                </a:cubicBezTo>
                <a:cubicBezTo>
                  <a:pt x="334" y="313"/>
                  <a:pt x="358" y="310"/>
                  <a:pt x="372" y="314"/>
                </a:cubicBezTo>
                <a:cubicBezTo>
                  <a:pt x="379" y="317"/>
                  <a:pt x="412" y="332"/>
                  <a:pt x="396" y="340"/>
                </a:cubicBezTo>
                <a:close/>
                <a:moveTo>
                  <a:pt x="268" y="228"/>
                </a:moveTo>
                <a:cubicBezTo>
                  <a:pt x="269" y="235"/>
                  <a:pt x="264" y="243"/>
                  <a:pt x="266" y="250"/>
                </a:cubicBezTo>
                <a:cubicBezTo>
                  <a:pt x="273" y="270"/>
                  <a:pt x="289" y="240"/>
                  <a:pt x="294" y="256"/>
                </a:cubicBezTo>
                <a:cubicBezTo>
                  <a:pt x="309" y="253"/>
                  <a:pt x="312" y="244"/>
                  <a:pt x="321" y="233"/>
                </a:cubicBezTo>
                <a:cubicBezTo>
                  <a:pt x="327" y="225"/>
                  <a:pt x="338" y="219"/>
                  <a:pt x="348" y="215"/>
                </a:cubicBezTo>
                <a:cubicBezTo>
                  <a:pt x="359" y="211"/>
                  <a:pt x="376" y="214"/>
                  <a:pt x="385" y="207"/>
                </a:cubicBezTo>
                <a:cubicBezTo>
                  <a:pt x="395" y="201"/>
                  <a:pt x="397" y="182"/>
                  <a:pt x="391" y="173"/>
                </a:cubicBezTo>
                <a:cubicBezTo>
                  <a:pt x="384" y="163"/>
                  <a:pt x="368" y="162"/>
                  <a:pt x="358" y="155"/>
                </a:cubicBezTo>
                <a:cubicBezTo>
                  <a:pt x="356" y="155"/>
                  <a:pt x="354" y="155"/>
                  <a:pt x="353" y="155"/>
                </a:cubicBezTo>
                <a:cubicBezTo>
                  <a:pt x="350" y="155"/>
                  <a:pt x="350" y="139"/>
                  <a:pt x="348" y="138"/>
                </a:cubicBezTo>
                <a:cubicBezTo>
                  <a:pt x="343" y="133"/>
                  <a:pt x="340" y="137"/>
                  <a:pt x="334" y="136"/>
                </a:cubicBezTo>
                <a:cubicBezTo>
                  <a:pt x="327" y="135"/>
                  <a:pt x="322" y="128"/>
                  <a:pt x="314" y="130"/>
                </a:cubicBezTo>
                <a:cubicBezTo>
                  <a:pt x="305" y="133"/>
                  <a:pt x="309" y="146"/>
                  <a:pt x="306" y="153"/>
                </a:cubicBezTo>
                <a:cubicBezTo>
                  <a:pt x="301" y="168"/>
                  <a:pt x="285" y="177"/>
                  <a:pt x="275" y="188"/>
                </a:cubicBezTo>
                <a:cubicBezTo>
                  <a:pt x="267" y="196"/>
                  <a:pt x="255" y="199"/>
                  <a:pt x="259" y="212"/>
                </a:cubicBezTo>
                <a:cubicBezTo>
                  <a:pt x="261" y="218"/>
                  <a:pt x="267" y="221"/>
                  <a:pt x="268" y="228"/>
                </a:cubicBezTo>
                <a:close/>
              </a:path>
            </a:pathLst>
          </a:custGeom>
          <a:solidFill>
            <a:srgbClr val="FFC000"/>
          </a:solidFill>
          <a:ln w="6350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" name="Freeform 4030">
            <a:extLst>
              <a:ext uri="{FF2B5EF4-FFF2-40B4-BE49-F238E27FC236}">
                <a16:creationId xmlns:a16="http://schemas.microsoft.com/office/drawing/2014/main" id="{A93897BD-5B18-4B16-9A36-E2880C1B148B}"/>
              </a:ext>
            </a:extLst>
          </p:cNvPr>
          <p:cNvSpPr>
            <a:spLocks/>
          </p:cNvSpPr>
          <p:nvPr/>
        </p:nvSpPr>
        <p:spPr bwMode="auto">
          <a:xfrm>
            <a:off x="1361259" y="3951504"/>
            <a:ext cx="824464" cy="1384635"/>
          </a:xfrm>
          <a:custGeom>
            <a:avLst/>
            <a:gdLst/>
            <a:ahLst/>
            <a:cxnLst>
              <a:cxn ang="0">
                <a:pos x="307" y="60"/>
              </a:cxn>
              <a:cxn ang="0">
                <a:pos x="200" y="504"/>
              </a:cxn>
              <a:cxn ang="0">
                <a:pos x="86" y="473"/>
              </a:cxn>
              <a:cxn ang="0">
                <a:pos x="96" y="413"/>
              </a:cxn>
              <a:cxn ang="0">
                <a:pos x="81" y="409"/>
              </a:cxn>
              <a:cxn ang="0">
                <a:pos x="45" y="324"/>
              </a:cxn>
              <a:cxn ang="0">
                <a:pos x="37" y="305"/>
              </a:cxn>
              <a:cxn ang="0">
                <a:pos x="17" y="217"/>
              </a:cxn>
              <a:cxn ang="0">
                <a:pos x="113" y="0"/>
              </a:cxn>
              <a:cxn ang="0">
                <a:pos x="307" y="60"/>
              </a:cxn>
            </a:cxnLst>
            <a:rect l="0" t="0" r="r" b="b"/>
            <a:pathLst>
              <a:path w="307" h="504">
                <a:moveTo>
                  <a:pt x="307" y="60"/>
                </a:moveTo>
                <a:cubicBezTo>
                  <a:pt x="200" y="504"/>
                  <a:pt x="200" y="504"/>
                  <a:pt x="200" y="504"/>
                </a:cubicBezTo>
                <a:cubicBezTo>
                  <a:pt x="159" y="494"/>
                  <a:pt x="120" y="483"/>
                  <a:pt x="86" y="473"/>
                </a:cubicBezTo>
                <a:cubicBezTo>
                  <a:pt x="81" y="452"/>
                  <a:pt x="83" y="430"/>
                  <a:pt x="96" y="413"/>
                </a:cubicBezTo>
                <a:cubicBezTo>
                  <a:pt x="91" y="413"/>
                  <a:pt x="87" y="409"/>
                  <a:pt x="81" y="409"/>
                </a:cubicBezTo>
                <a:cubicBezTo>
                  <a:pt x="81" y="382"/>
                  <a:pt x="68" y="337"/>
                  <a:pt x="45" y="324"/>
                </a:cubicBezTo>
                <a:cubicBezTo>
                  <a:pt x="49" y="315"/>
                  <a:pt x="49" y="302"/>
                  <a:pt x="37" y="305"/>
                </a:cubicBezTo>
                <a:cubicBezTo>
                  <a:pt x="48" y="271"/>
                  <a:pt x="0" y="248"/>
                  <a:pt x="17" y="217"/>
                </a:cubicBezTo>
                <a:cubicBezTo>
                  <a:pt x="40" y="178"/>
                  <a:pt x="85" y="65"/>
                  <a:pt x="113" y="0"/>
                </a:cubicBezTo>
                <a:cubicBezTo>
                  <a:pt x="171" y="23"/>
                  <a:pt x="236" y="44"/>
                  <a:pt x="307" y="6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 w="6350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" name="Freeform 4031">
            <a:extLst>
              <a:ext uri="{FF2B5EF4-FFF2-40B4-BE49-F238E27FC236}">
                <a16:creationId xmlns:a16="http://schemas.microsoft.com/office/drawing/2014/main" id="{4E407551-13E3-494C-937A-29A1DEC26FB6}"/>
              </a:ext>
            </a:extLst>
          </p:cNvPr>
          <p:cNvSpPr>
            <a:spLocks/>
          </p:cNvSpPr>
          <p:nvPr/>
        </p:nvSpPr>
        <p:spPr bwMode="auto">
          <a:xfrm>
            <a:off x="704873" y="2528605"/>
            <a:ext cx="751337" cy="1312764"/>
          </a:xfrm>
          <a:custGeom>
            <a:avLst/>
            <a:gdLst/>
            <a:ahLst/>
            <a:cxnLst>
              <a:cxn ang="0">
                <a:pos x="279" y="446"/>
              </a:cxn>
              <a:cxn ang="0">
                <a:pos x="276" y="462"/>
              </a:cxn>
              <a:cxn ang="0">
                <a:pos x="275" y="478"/>
              </a:cxn>
              <a:cxn ang="0">
                <a:pos x="19" y="302"/>
              </a:cxn>
              <a:cxn ang="0">
                <a:pos x="19" y="302"/>
              </a:cxn>
              <a:cxn ang="0">
                <a:pos x="17" y="292"/>
              </a:cxn>
              <a:cxn ang="0">
                <a:pos x="6" y="288"/>
              </a:cxn>
              <a:cxn ang="0">
                <a:pos x="0" y="281"/>
              </a:cxn>
              <a:cxn ang="0">
                <a:pos x="251" y="0"/>
              </a:cxn>
              <a:cxn ang="0">
                <a:pos x="278" y="66"/>
              </a:cxn>
              <a:cxn ang="0">
                <a:pos x="249" y="114"/>
              </a:cxn>
              <a:cxn ang="0">
                <a:pos x="255" y="138"/>
              </a:cxn>
              <a:cxn ang="0">
                <a:pos x="243" y="180"/>
              </a:cxn>
              <a:cxn ang="0">
                <a:pos x="248" y="188"/>
              </a:cxn>
              <a:cxn ang="0">
                <a:pos x="259" y="194"/>
              </a:cxn>
              <a:cxn ang="0">
                <a:pos x="241" y="217"/>
              </a:cxn>
              <a:cxn ang="0">
                <a:pos x="233" y="240"/>
              </a:cxn>
              <a:cxn ang="0">
                <a:pos x="248" y="258"/>
              </a:cxn>
              <a:cxn ang="0">
                <a:pos x="245" y="282"/>
              </a:cxn>
              <a:cxn ang="0">
                <a:pos x="246" y="299"/>
              </a:cxn>
              <a:cxn ang="0">
                <a:pos x="234" y="310"/>
              </a:cxn>
              <a:cxn ang="0">
                <a:pos x="235" y="332"/>
              </a:cxn>
              <a:cxn ang="0">
                <a:pos x="219" y="364"/>
              </a:cxn>
              <a:cxn ang="0">
                <a:pos x="238" y="358"/>
              </a:cxn>
              <a:cxn ang="0">
                <a:pos x="239" y="407"/>
              </a:cxn>
              <a:cxn ang="0">
                <a:pos x="271" y="437"/>
              </a:cxn>
              <a:cxn ang="0">
                <a:pos x="279" y="446"/>
              </a:cxn>
            </a:cxnLst>
            <a:rect l="0" t="0" r="r" b="b"/>
            <a:pathLst>
              <a:path w="280" h="478">
                <a:moveTo>
                  <a:pt x="279" y="446"/>
                </a:moveTo>
                <a:cubicBezTo>
                  <a:pt x="280" y="451"/>
                  <a:pt x="277" y="457"/>
                  <a:pt x="276" y="462"/>
                </a:cubicBezTo>
                <a:cubicBezTo>
                  <a:pt x="275" y="467"/>
                  <a:pt x="275" y="473"/>
                  <a:pt x="275" y="478"/>
                </a:cubicBezTo>
                <a:cubicBezTo>
                  <a:pt x="158" y="422"/>
                  <a:pt x="72" y="357"/>
                  <a:pt x="19" y="302"/>
                </a:cubicBezTo>
                <a:cubicBezTo>
                  <a:pt x="19" y="302"/>
                  <a:pt x="19" y="302"/>
                  <a:pt x="19" y="302"/>
                </a:cubicBezTo>
                <a:cubicBezTo>
                  <a:pt x="19" y="300"/>
                  <a:pt x="19" y="293"/>
                  <a:pt x="17" y="292"/>
                </a:cubicBezTo>
                <a:cubicBezTo>
                  <a:pt x="14" y="291"/>
                  <a:pt x="10" y="290"/>
                  <a:pt x="6" y="288"/>
                </a:cubicBezTo>
                <a:cubicBezTo>
                  <a:pt x="4" y="286"/>
                  <a:pt x="2" y="284"/>
                  <a:pt x="0" y="281"/>
                </a:cubicBezTo>
                <a:cubicBezTo>
                  <a:pt x="35" y="248"/>
                  <a:pt x="217" y="35"/>
                  <a:pt x="251" y="0"/>
                </a:cubicBezTo>
                <a:cubicBezTo>
                  <a:pt x="257" y="24"/>
                  <a:pt x="267" y="49"/>
                  <a:pt x="278" y="66"/>
                </a:cubicBezTo>
                <a:cubicBezTo>
                  <a:pt x="269" y="80"/>
                  <a:pt x="248" y="98"/>
                  <a:pt x="249" y="114"/>
                </a:cubicBezTo>
                <a:cubicBezTo>
                  <a:pt x="213" y="121"/>
                  <a:pt x="252" y="134"/>
                  <a:pt x="255" y="138"/>
                </a:cubicBezTo>
                <a:cubicBezTo>
                  <a:pt x="266" y="152"/>
                  <a:pt x="255" y="166"/>
                  <a:pt x="243" y="180"/>
                </a:cubicBezTo>
                <a:cubicBezTo>
                  <a:pt x="245" y="182"/>
                  <a:pt x="246" y="185"/>
                  <a:pt x="248" y="188"/>
                </a:cubicBezTo>
                <a:cubicBezTo>
                  <a:pt x="252" y="188"/>
                  <a:pt x="255" y="192"/>
                  <a:pt x="259" y="194"/>
                </a:cubicBezTo>
                <a:cubicBezTo>
                  <a:pt x="258" y="209"/>
                  <a:pt x="247" y="207"/>
                  <a:pt x="241" y="217"/>
                </a:cubicBezTo>
                <a:cubicBezTo>
                  <a:pt x="237" y="224"/>
                  <a:pt x="233" y="233"/>
                  <a:pt x="233" y="240"/>
                </a:cubicBezTo>
                <a:cubicBezTo>
                  <a:pt x="234" y="253"/>
                  <a:pt x="242" y="249"/>
                  <a:pt x="248" y="258"/>
                </a:cubicBezTo>
                <a:cubicBezTo>
                  <a:pt x="246" y="269"/>
                  <a:pt x="243" y="272"/>
                  <a:pt x="245" y="282"/>
                </a:cubicBezTo>
                <a:cubicBezTo>
                  <a:pt x="246" y="288"/>
                  <a:pt x="250" y="292"/>
                  <a:pt x="246" y="299"/>
                </a:cubicBezTo>
                <a:cubicBezTo>
                  <a:pt x="244" y="304"/>
                  <a:pt x="236" y="306"/>
                  <a:pt x="234" y="310"/>
                </a:cubicBezTo>
                <a:cubicBezTo>
                  <a:pt x="231" y="317"/>
                  <a:pt x="236" y="325"/>
                  <a:pt x="235" y="332"/>
                </a:cubicBezTo>
                <a:cubicBezTo>
                  <a:pt x="234" y="347"/>
                  <a:pt x="224" y="352"/>
                  <a:pt x="219" y="364"/>
                </a:cubicBezTo>
                <a:cubicBezTo>
                  <a:pt x="225" y="365"/>
                  <a:pt x="232" y="360"/>
                  <a:pt x="238" y="358"/>
                </a:cubicBezTo>
                <a:cubicBezTo>
                  <a:pt x="247" y="373"/>
                  <a:pt x="237" y="391"/>
                  <a:pt x="239" y="407"/>
                </a:cubicBezTo>
                <a:cubicBezTo>
                  <a:pt x="242" y="426"/>
                  <a:pt x="257" y="429"/>
                  <a:pt x="271" y="437"/>
                </a:cubicBezTo>
                <a:cubicBezTo>
                  <a:pt x="278" y="441"/>
                  <a:pt x="278" y="436"/>
                  <a:pt x="279" y="446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 w="6350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23" name="Freeform 4032">
            <a:extLst>
              <a:ext uri="{FF2B5EF4-FFF2-40B4-BE49-F238E27FC236}">
                <a16:creationId xmlns:a16="http://schemas.microsoft.com/office/drawing/2014/main" id="{B5A487FE-1F31-4EB5-BCC4-7BD42A2D7DB2}"/>
              </a:ext>
            </a:extLst>
          </p:cNvPr>
          <p:cNvSpPr>
            <a:spLocks noEditPoints="1"/>
          </p:cNvSpPr>
          <p:nvPr/>
        </p:nvSpPr>
        <p:spPr bwMode="auto">
          <a:xfrm>
            <a:off x="701890" y="3380944"/>
            <a:ext cx="936304" cy="1868671"/>
          </a:xfrm>
          <a:custGeom>
            <a:avLst/>
            <a:gdLst/>
            <a:ahLst/>
            <a:cxnLst>
              <a:cxn ang="0">
                <a:pos x="281" y="531"/>
              </a:cxn>
              <a:cxn ang="0">
                <a:pos x="253" y="424"/>
              </a:cxn>
              <a:cxn ang="0">
                <a:pos x="276" y="176"/>
              </a:cxn>
              <a:cxn ang="0">
                <a:pos x="20" y="41"/>
              </a:cxn>
              <a:cxn ang="0">
                <a:pos x="23" y="66"/>
              </a:cxn>
              <a:cxn ang="0">
                <a:pos x="42" y="68"/>
              </a:cxn>
              <a:cxn ang="0">
                <a:pos x="53" y="60"/>
              </a:cxn>
              <a:cxn ang="0">
                <a:pos x="73" y="77"/>
              </a:cxn>
              <a:cxn ang="0">
                <a:pos x="69" y="99"/>
              </a:cxn>
              <a:cxn ang="0">
                <a:pos x="74" y="131"/>
              </a:cxn>
              <a:cxn ang="0">
                <a:pos x="67" y="147"/>
              </a:cxn>
              <a:cxn ang="0">
                <a:pos x="68" y="184"/>
              </a:cxn>
              <a:cxn ang="0">
                <a:pos x="65" y="190"/>
              </a:cxn>
              <a:cxn ang="0">
                <a:pos x="65" y="215"/>
              </a:cxn>
              <a:cxn ang="0">
                <a:pos x="70" y="275"/>
              </a:cxn>
              <a:cxn ang="0">
                <a:pos x="40" y="349"/>
              </a:cxn>
              <a:cxn ang="0">
                <a:pos x="53" y="358"/>
              </a:cxn>
              <a:cxn ang="0">
                <a:pos x="48" y="384"/>
              </a:cxn>
              <a:cxn ang="0">
                <a:pos x="45" y="406"/>
              </a:cxn>
              <a:cxn ang="0">
                <a:pos x="50" y="428"/>
              </a:cxn>
              <a:cxn ang="0">
                <a:pos x="31" y="456"/>
              </a:cxn>
              <a:cxn ang="0">
                <a:pos x="55" y="490"/>
              </a:cxn>
              <a:cxn ang="0">
                <a:pos x="68" y="507"/>
              </a:cxn>
              <a:cxn ang="0">
                <a:pos x="76" y="538"/>
              </a:cxn>
              <a:cxn ang="0">
                <a:pos x="96" y="578"/>
              </a:cxn>
              <a:cxn ang="0">
                <a:pos x="322" y="680"/>
              </a:cxn>
              <a:cxn ang="0">
                <a:pos x="317" y="616"/>
              </a:cxn>
              <a:cxn ang="0">
                <a:pos x="59" y="513"/>
              </a:cxn>
              <a:cxn ang="0">
                <a:pos x="17" y="463"/>
              </a:cxn>
              <a:cxn ang="0">
                <a:pos x="20" y="507"/>
              </a:cxn>
              <a:cxn ang="0">
                <a:pos x="25" y="533"/>
              </a:cxn>
              <a:cxn ang="0">
                <a:pos x="49" y="586"/>
              </a:cxn>
              <a:cxn ang="0">
                <a:pos x="80" y="587"/>
              </a:cxn>
            </a:cxnLst>
            <a:rect l="0" t="0" r="r" b="b"/>
            <a:pathLst>
              <a:path w="349" h="680">
                <a:moveTo>
                  <a:pt x="317" y="616"/>
                </a:moveTo>
                <a:cubicBezTo>
                  <a:pt x="317" y="589"/>
                  <a:pt x="304" y="544"/>
                  <a:pt x="281" y="531"/>
                </a:cubicBezTo>
                <a:cubicBezTo>
                  <a:pt x="285" y="522"/>
                  <a:pt x="285" y="509"/>
                  <a:pt x="273" y="512"/>
                </a:cubicBezTo>
                <a:cubicBezTo>
                  <a:pt x="284" y="478"/>
                  <a:pt x="236" y="455"/>
                  <a:pt x="253" y="424"/>
                </a:cubicBezTo>
                <a:cubicBezTo>
                  <a:pt x="276" y="385"/>
                  <a:pt x="321" y="272"/>
                  <a:pt x="349" y="207"/>
                </a:cubicBezTo>
                <a:cubicBezTo>
                  <a:pt x="323" y="197"/>
                  <a:pt x="299" y="187"/>
                  <a:pt x="276" y="176"/>
                </a:cubicBezTo>
                <a:cubicBezTo>
                  <a:pt x="159" y="120"/>
                  <a:pt x="73" y="55"/>
                  <a:pt x="20" y="0"/>
                </a:cubicBezTo>
                <a:cubicBezTo>
                  <a:pt x="21" y="14"/>
                  <a:pt x="21" y="28"/>
                  <a:pt x="20" y="41"/>
                </a:cubicBezTo>
                <a:cubicBezTo>
                  <a:pt x="20" y="48"/>
                  <a:pt x="20" y="54"/>
                  <a:pt x="20" y="60"/>
                </a:cubicBezTo>
                <a:cubicBezTo>
                  <a:pt x="21" y="64"/>
                  <a:pt x="21" y="66"/>
                  <a:pt x="23" y="66"/>
                </a:cubicBezTo>
                <a:cubicBezTo>
                  <a:pt x="24" y="67"/>
                  <a:pt x="27" y="66"/>
                  <a:pt x="32" y="67"/>
                </a:cubicBezTo>
                <a:cubicBezTo>
                  <a:pt x="35" y="68"/>
                  <a:pt x="40" y="76"/>
                  <a:pt x="42" y="68"/>
                </a:cubicBezTo>
                <a:cubicBezTo>
                  <a:pt x="45" y="68"/>
                  <a:pt x="46" y="65"/>
                  <a:pt x="48" y="63"/>
                </a:cubicBezTo>
                <a:cubicBezTo>
                  <a:pt x="51" y="59"/>
                  <a:pt x="48" y="60"/>
                  <a:pt x="53" y="60"/>
                </a:cubicBezTo>
                <a:cubicBezTo>
                  <a:pt x="57" y="60"/>
                  <a:pt x="63" y="62"/>
                  <a:pt x="68" y="59"/>
                </a:cubicBezTo>
                <a:cubicBezTo>
                  <a:pt x="71" y="61"/>
                  <a:pt x="74" y="73"/>
                  <a:pt x="73" y="77"/>
                </a:cubicBezTo>
                <a:cubicBezTo>
                  <a:pt x="72" y="77"/>
                  <a:pt x="72" y="77"/>
                  <a:pt x="71" y="77"/>
                </a:cubicBezTo>
                <a:cubicBezTo>
                  <a:pt x="68" y="82"/>
                  <a:pt x="70" y="93"/>
                  <a:pt x="69" y="99"/>
                </a:cubicBezTo>
                <a:cubicBezTo>
                  <a:pt x="69" y="102"/>
                  <a:pt x="68" y="106"/>
                  <a:pt x="69" y="109"/>
                </a:cubicBezTo>
                <a:cubicBezTo>
                  <a:pt x="72" y="117"/>
                  <a:pt x="76" y="122"/>
                  <a:pt x="74" y="131"/>
                </a:cubicBezTo>
                <a:cubicBezTo>
                  <a:pt x="74" y="134"/>
                  <a:pt x="73" y="138"/>
                  <a:pt x="72" y="140"/>
                </a:cubicBezTo>
                <a:cubicBezTo>
                  <a:pt x="70" y="143"/>
                  <a:pt x="68" y="143"/>
                  <a:pt x="67" y="147"/>
                </a:cubicBezTo>
                <a:cubicBezTo>
                  <a:pt x="66" y="151"/>
                  <a:pt x="70" y="159"/>
                  <a:pt x="71" y="164"/>
                </a:cubicBezTo>
                <a:cubicBezTo>
                  <a:pt x="71" y="172"/>
                  <a:pt x="72" y="177"/>
                  <a:pt x="68" y="184"/>
                </a:cubicBezTo>
                <a:cubicBezTo>
                  <a:pt x="67" y="185"/>
                  <a:pt x="65" y="185"/>
                  <a:pt x="65" y="186"/>
                </a:cubicBezTo>
                <a:cubicBezTo>
                  <a:pt x="64" y="188"/>
                  <a:pt x="65" y="189"/>
                  <a:pt x="65" y="190"/>
                </a:cubicBezTo>
                <a:cubicBezTo>
                  <a:pt x="64" y="193"/>
                  <a:pt x="66" y="196"/>
                  <a:pt x="61" y="196"/>
                </a:cubicBezTo>
                <a:cubicBezTo>
                  <a:pt x="58" y="201"/>
                  <a:pt x="62" y="211"/>
                  <a:pt x="65" y="215"/>
                </a:cubicBezTo>
                <a:cubicBezTo>
                  <a:pt x="71" y="224"/>
                  <a:pt x="76" y="232"/>
                  <a:pt x="80" y="240"/>
                </a:cubicBezTo>
                <a:cubicBezTo>
                  <a:pt x="87" y="253"/>
                  <a:pt x="76" y="264"/>
                  <a:pt x="70" y="275"/>
                </a:cubicBezTo>
                <a:cubicBezTo>
                  <a:pt x="62" y="289"/>
                  <a:pt x="46" y="298"/>
                  <a:pt x="42" y="314"/>
                </a:cubicBezTo>
                <a:cubicBezTo>
                  <a:pt x="40" y="321"/>
                  <a:pt x="31" y="344"/>
                  <a:pt x="40" y="349"/>
                </a:cubicBezTo>
                <a:cubicBezTo>
                  <a:pt x="45" y="351"/>
                  <a:pt x="50" y="345"/>
                  <a:pt x="54" y="344"/>
                </a:cubicBezTo>
                <a:cubicBezTo>
                  <a:pt x="70" y="341"/>
                  <a:pt x="56" y="354"/>
                  <a:pt x="53" y="358"/>
                </a:cubicBezTo>
                <a:cubicBezTo>
                  <a:pt x="50" y="362"/>
                  <a:pt x="50" y="365"/>
                  <a:pt x="50" y="370"/>
                </a:cubicBezTo>
                <a:cubicBezTo>
                  <a:pt x="50" y="375"/>
                  <a:pt x="48" y="379"/>
                  <a:pt x="48" y="384"/>
                </a:cubicBezTo>
                <a:cubicBezTo>
                  <a:pt x="47" y="389"/>
                  <a:pt x="50" y="391"/>
                  <a:pt x="47" y="396"/>
                </a:cubicBezTo>
                <a:cubicBezTo>
                  <a:pt x="45" y="401"/>
                  <a:pt x="41" y="400"/>
                  <a:pt x="45" y="406"/>
                </a:cubicBezTo>
                <a:cubicBezTo>
                  <a:pt x="50" y="414"/>
                  <a:pt x="60" y="414"/>
                  <a:pt x="68" y="414"/>
                </a:cubicBezTo>
                <a:cubicBezTo>
                  <a:pt x="67" y="423"/>
                  <a:pt x="57" y="425"/>
                  <a:pt x="50" y="428"/>
                </a:cubicBezTo>
                <a:cubicBezTo>
                  <a:pt x="41" y="431"/>
                  <a:pt x="37" y="438"/>
                  <a:pt x="34" y="446"/>
                </a:cubicBezTo>
                <a:cubicBezTo>
                  <a:pt x="33" y="449"/>
                  <a:pt x="31" y="454"/>
                  <a:pt x="31" y="456"/>
                </a:cubicBezTo>
                <a:cubicBezTo>
                  <a:pt x="30" y="460"/>
                  <a:pt x="32" y="469"/>
                  <a:pt x="36" y="473"/>
                </a:cubicBezTo>
                <a:cubicBezTo>
                  <a:pt x="45" y="473"/>
                  <a:pt x="56" y="480"/>
                  <a:pt x="55" y="490"/>
                </a:cubicBezTo>
                <a:cubicBezTo>
                  <a:pt x="55" y="495"/>
                  <a:pt x="53" y="496"/>
                  <a:pt x="57" y="500"/>
                </a:cubicBezTo>
                <a:cubicBezTo>
                  <a:pt x="60" y="503"/>
                  <a:pt x="65" y="504"/>
                  <a:pt x="68" y="507"/>
                </a:cubicBezTo>
                <a:cubicBezTo>
                  <a:pt x="73" y="512"/>
                  <a:pt x="83" y="519"/>
                  <a:pt x="81" y="527"/>
                </a:cubicBezTo>
                <a:cubicBezTo>
                  <a:pt x="79" y="531"/>
                  <a:pt x="76" y="533"/>
                  <a:pt x="76" y="538"/>
                </a:cubicBezTo>
                <a:cubicBezTo>
                  <a:pt x="76" y="544"/>
                  <a:pt x="78" y="546"/>
                  <a:pt x="82" y="549"/>
                </a:cubicBezTo>
                <a:cubicBezTo>
                  <a:pt x="88" y="556"/>
                  <a:pt x="92" y="569"/>
                  <a:pt x="96" y="578"/>
                </a:cubicBezTo>
                <a:cubicBezTo>
                  <a:pt x="100" y="587"/>
                  <a:pt x="97" y="590"/>
                  <a:pt x="106" y="596"/>
                </a:cubicBezTo>
                <a:cubicBezTo>
                  <a:pt x="111" y="600"/>
                  <a:pt x="192" y="640"/>
                  <a:pt x="322" y="680"/>
                </a:cubicBezTo>
                <a:cubicBezTo>
                  <a:pt x="317" y="659"/>
                  <a:pt x="319" y="637"/>
                  <a:pt x="332" y="620"/>
                </a:cubicBezTo>
                <a:cubicBezTo>
                  <a:pt x="327" y="620"/>
                  <a:pt x="323" y="616"/>
                  <a:pt x="317" y="616"/>
                </a:cubicBezTo>
                <a:close/>
                <a:moveTo>
                  <a:pt x="65" y="548"/>
                </a:moveTo>
                <a:cubicBezTo>
                  <a:pt x="61" y="537"/>
                  <a:pt x="65" y="524"/>
                  <a:pt x="59" y="513"/>
                </a:cubicBezTo>
                <a:cubicBezTo>
                  <a:pt x="53" y="503"/>
                  <a:pt x="42" y="498"/>
                  <a:pt x="35" y="489"/>
                </a:cubicBezTo>
                <a:cubicBezTo>
                  <a:pt x="29" y="481"/>
                  <a:pt x="28" y="467"/>
                  <a:pt x="17" y="463"/>
                </a:cubicBezTo>
                <a:cubicBezTo>
                  <a:pt x="2" y="459"/>
                  <a:pt x="10" y="476"/>
                  <a:pt x="14" y="483"/>
                </a:cubicBezTo>
                <a:cubicBezTo>
                  <a:pt x="0" y="487"/>
                  <a:pt x="15" y="502"/>
                  <a:pt x="20" y="507"/>
                </a:cubicBezTo>
                <a:cubicBezTo>
                  <a:pt x="23" y="511"/>
                  <a:pt x="28" y="515"/>
                  <a:pt x="29" y="520"/>
                </a:cubicBezTo>
                <a:cubicBezTo>
                  <a:pt x="30" y="527"/>
                  <a:pt x="25" y="528"/>
                  <a:pt x="25" y="533"/>
                </a:cubicBezTo>
                <a:cubicBezTo>
                  <a:pt x="24" y="545"/>
                  <a:pt x="34" y="549"/>
                  <a:pt x="40" y="556"/>
                </a:cubicBezTo>
                <a:cubicBezTo>
                  <a:pt x="48" y="565"/>
                  <a:pt x="43" y="576"/>
                  <a:pt x="49" y="586"/>
                </a:cubicBezTo>
                <a:cubicBezTo>
                  <a:pt x="54" y="594"/>
                  <a:pt x="66" y="608"/>
                  <a:pt x="75" y="612"/>
                </a:cubicBezTo>
                <a:cubicBezTo>
                  <a:pt x="82" y="617"/>
                  <a:pt x="80" y="590"/>
                  <a:pt x="80" y="587"/>
                </a:cubicBezTo>
                <a:cubicBezTo>
                  <a:pt x="79" y="571"/>
                  <a:pt x="70" y="563"/>
                  <a:pt x="65" y="548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 w="6350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911B9340-114A-4CC3-B375-C5EE4EBBCD57}"/>
              </a:ext>
            </a:extLst>
          </p:cNvPr>
          <p:cNvSpPr txBox="1"/>
          <p:nvPr/>
        </p:nvSpPr>
        <p:spPr>
          <a:xfrm>
            <a:off x="6403107" y="1722811"/>
            <a:ext cx="4891465" cy="954107"/>
          </a:xfrm>
          <a:prstGeom prst="rect">
            <a:avLst/>
          </a:prstGeom>
          <a:solidFill>
            <a:srgbClr val="7C240B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CA" sz="2800" dirty="0">
                <a:solidFill>
                  <a:schemeClr val="bg1"/>
                </a:solidFill>
                <a:cs typeface="Arial" panose="020B0604020202020204" pitchFamily="34" charset="0"/>
              </a:rPr>
              <a:t>Remote communities are particularly at risk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55EAF002-30DC-41C2-8346-D9DD16B2A9EB}"/>
              </a:ext>
            </a:extLst>
          </p:cNvPr>
          <p:cNvCxnSpPr>
            <a:cxnSpLocks/>
          </p:cNvCxnSpPr>
          <p:nvPr/>
        </p:nvCxnSpPr>
        <p:spPr>
          <a:xfrm>
            <a:off x="6403107" y="2778091"/>
            <a:ext cx="4891465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69266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C414A9-D858-4642-A935-52F5CCEB8B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>
                <a:latin typeface="+mj-lt"/>
              </a:rPr>
              <a:t>	Limited distribution reduces selection of food for local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657315C-3A50-44E2-9EA0-19F2372E43F4}"/>
              </a:ext>
            </a:extLst>
          </p:cNvPr>
          <p:cNvSpPr txBox="1"/>
          <p:nvPr/>
        </p:nvSpPr>
        <p:spPr>
          <a:xfrm>
            <a:off x="517031" y="2129938"/>
            <a:ext cx="3420000" cy="648000"/>
          </a:xfrm>
          <a:prstGeom prst="rect">
            <a:avLst/>
          </a:prstGeom>
          <a:noFill/>
          <a:ln w="28575">
            <a:solidFill>
              <a:schemeClr val="accent4"/>
            </a:solidFill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en-CA" sz="2000" dirty="0">
                <a:cs typeface="Arial" panose="020B0604020202020204" pitchFamily="34" charset="0"/>
              </a:rPr>
              <a:t>Weak distribution capabilit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7B4C00B-CA79-49E0-AE99-25057FB4DD9E}"/>
              </a:ext>
            </a:extLst>
          </p:cNvPr>
          <p:cNvSpPr txBox="1"/>
          <p:nvPr/>
        </p:nvSpPr>
        <p:spPr>
          <a:xfrm>
            <a:off x="517031" y="3583706"/>
            <a:ext cx="3420000" cy="648000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txBody>
          <a:bodyPr wrap="square" rtlCol="0" anchor="ctr">
            <a:spAutoFit/>
          </a:bodyPr>
          <a:lstStyle/>
          <a:p>
            <a:pPr algn="ctr">
              <a:spcBef>
                <a:spcPts val="1200"/>
              </a:spcBef>
              <a:spcAft>
                <a:spcPts val="1200"/>
              </a:spcAft>
            </a:pPr>
            <a:r>
              <a:rPr lang="en-CA" sz="1900" dirty="0">
                <a:cs typeface="Arial" panose="020B0604020202020204" pitchFamily="34" charset="0"/>
              </a:rPr>
              <a:t>Limited community connectivity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40248A4-4B97-4753-87CC-AC03EA81AC10}"/>
              </a:ext>
            </a:extLst>
          </p:cNvPr>
          <p:cNvSpPr txBox="1"/>
          <p:nvPr/>
        </p:nvSpPr>
        <p:spPr>
          <a:xfrm>
            <a:off x="517031" y="5022088"/>
            <a:ext cx="3420000" cy="648000"/>
          </a:xfrm>
          <a:prstGeom prst="rect">
            <a:avLst/>
          </a:prstGeom>
          <a:noFill/>
          <a:ln w="28575">
            <a:solidFill>
              <a:schemeClr val="accent4"/>
            </a:solidFill>
          </a:ln>
        </p:spPr>
        <p:txBody>
          <a:bodyPr wrap="square" rtlCol="0" anchor="ctr">
            <a:spAutoFit/>
          </a:bodyPr>
          <a:lstStyle/>
          <a:p>
            <a:pPr algn="ctr">
              <a:spcBef>
                <a:spcPts val="1200"/>
              </a:spcBef>
              <a:spcAft>
                <a:spcPts val="1200"/>
              </a:spcAft>
            </a:pPr>
            <a:r>
              <a:rPr lang="en-CA" sz="2000" dirty="0">
                <a:cs typeface="Arial" panose="020B0604020202020204" pitchFamily="34" charset="0"/>
              </a:rPr>
              <a:t>Diminishing food education</a:t>
            </a:r>
          </a:p>
        </p:txBody>
      </p:sp>
      <p:sp>
        <p:nvSpPr>
          <p:cNvPr id="23" name="Isosceles Triangle 22">
            <a:extLst>
              <a:ext uri="{FF2B5EF4-FFF2-40B4-BE49-F238E27FC236}">
                <a16:creationId xmlns:a16="http://schemas.microsoft.com/office/drawing/2014/main" id="{DC834581-3A8F-4F5D-A0BC-6358EB146385}"/>
              </a:ext>
            </a:extLst>
          </p:cNvPr>
          <p:cNvSpPr/>
          <p:nvPr/>
        </p:nvSpPr>
        <p:spPr>
          <a:xfrm rot="16200000" flipV="1">
            <a:off x="2461398" y="3646432"/>
            <a:ext cx="4003065" cy="490851"/>
          </a:xfrm>
          <a:prstGeom prst="triangle">
            <a:avLst>
              <a:gd name="adj" fmla="val 49762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F35BA82A-AB8C-460E-8921-DD33F54FC2F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20000"/>
                    </a14:imgEffect>
                  </a14:imgLayer>
                </a14:imgProps>
              </a:ext>
            </a:extLst>
          </a:blip>
          <a:srcRect l="3446" t="13549" r="1158" b="15759"/>
          <a:stretch/>
        </p:blipFill>
        <p:spPr>
          <a:xfrm>
            <a:off x="4828227" y="1667416"/>
            <a:ext cx="6856267" cy="4365290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68A57838-F3B1-442E-878C-1EC8CF7C46BC}"/>
              </a:ext>
            </a:extLst>
          </p:cNvPr>
          <p:cNvSpPr txBox="1"/>
          <p:nvPr/>
        </p:nvSpPr>
        <p:spPr>
          <a:xfrm>
            <a:off x="583706" y="6258474"/>
            <a:ext cx="1105549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900" dirty="0"/>
              <a:t>Source: Renata </a:t>
            </a:r>
            <a:r>
              <a:rPr lang="en-CA" sz="900" dirty="0" err="1"/>
              <a:t>Rosol</a:t>
            </a:r>
            <a:r>
              <a:rPr lang="en-CA" sz="900" dirty="0"/>
              <a:t>, “Evaluating Food Security in Nunavut: Preliminary Results from the Inuit Health Survey,” Master of Public Health Thesis, Faculty of Health Sciences, Simon Fraser University, 2009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A958D30-145E-4DC0-8A9E-756E86277198}"/>
              </a:ext>
            </a:extLst>
          </p:cNvPr>
          <p:cNvSpPr txBox="1"/>
          <p:nvPr/>
        </p:nvSpPr>
        <p:spPr>
          <a:xfrm>
            <a:off x="9141110" y="1664958"/>
            <a:ext cx="2495759" cy="756000"/>
          </a:xfrm>
          <a:prstGeom prst="rect">
            <a:avLst/>
          </a:prstGeom>
          <a:solidFill>
            <a:srgbClr val="FF1919"/>
          </a:solidFill>
          <a:ln w="12700">
            <a:solidFill>
              <a:schemeClr val="accent4"/>
            </a:solidFill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en-CA" sz="1400" dirty="0">
                <a:solidFill>
                  <a:schemeClr val="bg1"/>
                </a:solidFill>
                <a:cs typeface="Arial" panose="020B0604020202020204" pitchFamily="34" charset="0"/>
              </a:rPr>
              <a:t>97% of Inuit want local food as part of their diet</a:t>
            </a:r>
          </a:p>
        </p:txBody>
      </p:sp>
    </p:spTree>
    <p:extLst>
      <p:ext uri="{BB962C8B-B14F-4D97-AF65-F5344CB8AC3E}">
        <p14:creationId xmlns:p14="http://schemas.microsoft.com/office/powerpoint/2010/main" val="18018195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Image result for inuit fish market">
            <a:extLst>
              <a:ext uri="{FF2B5EF4-FFF2-40B4-BE49-F238E27FC236}">
                <a16:creationId xmlns:a16="http://schemas.microsoft.com/office/drawing/2014/main" id="{E869D779-186A-4851-9852-FCDF0738AD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96" y="0"/>
            <a:ext cx="1218882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B6402462-54BA-496D-AB5B-4A4F2EC99536}"/>
              </a:ext>
            </a:extLst>
          </p:cNvPr>
          <p:cNvSpPr/>
          <p:nvPr/>
        </p:nvSpPr>
        <p:spPr>
          <a:xfrm>
            <a:off x="497711" y="1863527"/>
            <a:ext cx="11103744" cy="2488557"/>
          </a:xfrm>
          <a:prstGeom prst="rect">
            <a:avLst/>
          </a:prstGeom>
          <a:solidFill>
            <a:srgbClr val="000000">
              <a:alpha val="4117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AA9C009-277D-4343-82F8-A9B991662E02}"/>
              </a:ext>
            </a:extLst>
          </p:cNvPr>
          <p:cNvSpPr/>
          <p:nvPr/>
        </p:nvSpPr>
        <p:spPr>
          <a:xfrm>
            <a:off x="590545" y="2072865"/>
            <a:ext cx="10801356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sz="4800" dirty="0">
                <a:solidFill>
                  <a:schemeClr val="accent3">
                    <a:lumMod val="20000"/>
                    <a:lumOff val="80000"/>
                  </a:schemeClr>
                </a:solidFill>
                <a:latin typeface="+mj-lt"/>
                <a:cs typeface="Arial" panose="020B0604020202020204" pitchFamily="34" charset="0"/>
              </a:rPr>
              <a:t>Facilitating more intercommunity trade </a:t>
            </a:r>
            <a:r>
              <a:rPr lang="en-CA" sz="40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increases food security and availability by </a:t>
            </a:r>
          </a:p>
          <a:p>
            <a:r>
              <a:rPr lang="en-CA" sz="4000" dirty="0">
                <a:solidFill>
                  <a:srgbClr val="FFFF00"/>
                </a:solidFill>
                <a:latin typeface="+mj-lt"/>
                <a:cs typeface="Arial" panose="020B0604020202020204" pitchFamily="34" charset="0"/>
              </a:rPr>
              <a:t>making the local economy more robust.</a:t>
            </a:r>
          </a:p>
        </p:txBody>
      </p:sp>
    </p:spTree>
    <p:extLst>
      <p:ext uri="{BB962C8B-B14F-4D97-AF65-F5344CB8AC3E}">
        <p14:creationId xmlns:p14="http://schemas.microsoft.com/office/powerpoint/2010/main" val="12757113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F4F24A-82CF-4150-9EEF-B97091CCD6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>
                <a:latin typeface="+mn-lt"/>
              </a:rPr>
              <a:t>	A virtual market place tailored for remote communities</a:t>
            </a:r>
          </a:p>
        </p:txBody>
      </p:sp>
      <p:pic>
        <p:nvPicPr>
          <p:cNvPr id="6" name="Graphic 5" descr="Internet">
            <a:extLst>
              <a:ext uri="{FF2B5EF4-FFF2-40B4-BE49-F238E27FC236}">
                <a16:creationId xmlns:a16="http://schemas.microsoft.com/office/drawing/2014/main" id="{154401E2-ADF0-4F38-8E66-8AC890208A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77246" y="1754255"/>
            <a:ext cx="2439817" cy="2439817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6C902B68-E043-4FD3-94C9-61DE795F9A32}"/>
              </a:ext>
            </a:extLst>
          </p:cNvPr>
          <p:cNvSpPr txBox="1"/>
          <p:nvPr/>
        </p:nvSpPr>
        <p:spPr>
          <a:xfrm>
            <a:off x="1294758" y="4140158"/>
            <a:ext cx="4168350" cy="4783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2400" dirty="0">
                <a:latin typeface="Arial" panose="020B0604020202020204" pitchFamily="34" charset="0"/>
                <a:cs typeface="Arial" panose="020B0604020202020204" pitchFamily="34" charset="0"/>
              </a:rPr>
              <a:t>Mobi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D6BD070-6A1A-475D-9194-E8B05607BE07}"/>
              </a:ext>
            </a:extLst>
          </p:cNvPr>
          <p:cNvSpPr txBox="1"/>
          <p:nvPr/>
        </p:nvSpPr>
        <p:spPr>
          <a:xfrm>
            <a:off x="6697694" y="4194072"/>
            <a:ext cx="4168350" cy="4783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2400" dirty="0">
                <a:latin typeface="Arial" panose="020B0604020202020204" pitchFamily="34" charset="0"/>
                <a:cs typeface="Arial" panose="020B0604020202020204" pitchFamily="34" charset="0"/>
              </a:rPr>
              <a:t>Onlin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7BEBBC1-7FE9-4ED1-82BC-76CA7E8C8B28}"/>
              </a:ext>
            </a:extLst>
          </p:cNvPr>
          <p:cNvSpPr/>
          <p:nvPr/>
        </p:nvSpPr>
        <p:spPr>
          <a:xfrm>
            <a:off x="534572" y="5078437"/>
            <a:ext cx="11071274" cy="984738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2000" dirty="0">
                <a:solidFill>
                  <a:schemeClr val="tx1"/>
                </a:solidFill>
              </a:rPr>
              <a:t>Our solution minimizes data and internet usage, enabling easy scalability to any remote location </a:t>
            </a:r>
          </a:p>
        </p:txBody>
      </p:sp>
      <p:pic>
        <p:nvPicPr>
          <p:cNvPr id="9" name="Graphic 8" descr="Smart Phone">
            <a:extLst>
              <a:ext uri="{FF2B5EF4-FFF2-40B4-BE49-F238E27FC236}">
                <a16:creationId xmlns:a16="http://schemas.microsoft.com/office/drawing/2014/main" id="{DE346EFC-2BC8-42CD-862C-296B38C821F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450464" y="2013543"/>
            <a:ext cx="1854249" cy="18542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49656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E764DBA-722F-4EFD-B35A-6901C81723C6}"/>
              </a:ext>
            </a:extLst>
          </p:cNvPr>
          <p:cNvSpPr/>
          <p:nvPr/>
        </p:nvSpPr>
        <p:spPr>
          <a:xfrm>
            <a:off x="0" y="0"/>
            <a:ext cx="7484012" cy="68580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1BCC21A-2084-4C04-A509-B149C89C50E4}"/>
              </a:ext>
            </a:extLst>
          </p:cNvPr>
          <p:cNvSpPr/>
          <p:nvPr/>
        </p:nvSpPr>
        <p:spPr>
          <a:xfrm>
            <a:off x="7709095" y="309489"/>
            <a:ext cx="4149970" cy="62460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/>
              <a:t>Phon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59A8351-068D-4956-BF00-FE0E54B026E7}"/>
              </a:ext>
            </a:extLst>
          </p:cNvPr>
          <p:cNvSpPr txBox="1"/>
          <p:nvPr/>
        </p:nvSpPr>
        <p:spPr>
          <a:xfrm>
            <a:off x="1059766" y="407963"/>
            <a:ext cx="536448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3200" b="1" u="sng" dirty="0">
                <a:solidFill>
                  <a:schemeClr val="bg1"/>
                </a:solidFill>
              </a:rPr>
              <a:t>Mobile</a:t>
            </a:r>
          </a:p>
        </p:txBody>
      </p:sp>
      <p:pic>
        <p:nvPicPr>
          <p:cNvPr id="8" name="Graphic 7" descr="Chat">
            <a:extLst>
              <a:ext uri="{FF2B5EF4-FFF2-40B4-BE49-F238E27FC236}">
                <a16:creationId xmlns:a16="http://schemas.microsoft.com/office/drawing/2014/main" id="{1F8E665F-99D9-4DE2-B902-A14D29F8401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84806" y="4047489"/>
            <a:ext cx="914400" cy="914400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BB6A60DC-3527-4D5B-9A53-A6556B4C4195}"/>
              </a:ext>
            </a:extLst>
          </p:cNvPr>
          <p:cNvGrpSpPr/>
          <p:nvPr/>
        </p:nvGrpSpPr>
        <p:grpSpPr>
          <a:xfrm>
            <a:off x="1382151" y="1799686"/>
            <a:ext cx="4719711" cy="914400"/>
            <a:chOff x="1376289" y="1799686"/>
            <a:chExt cx="4719711" cy="914400"/>
          </a:xfrm>
        </p:grpSpPr>
        <p:pic>
          <p:nvPicPr>
            <p:cNvPr id="10" name="Graphic 9" descr="Network">
              <a:extLst>
                <a:ext uri="{FF2B5EF4-FFF2-40B4-BE49-F238E27FC236}">
                  <a16:creationId xmlns:a16="http://schemas.microsoft.com/office/drawing/2014/main" id="{41C9465E-C409-4A85-B52B-F0088EBEC4A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181600" y="1799686"/>
              <a:ext cx="914400" cy="914400"/>
            </a:xfrm>
            <a:prstGeom prst="rect">
              <a:avLst/>
            </a:prstGeom>
          </p:spPr>
        </p:pic>
        <p:pic>
          <p:nvPicPr>
            <p:cNvPr id="12" name="Graphic 11" descr="Cell Tower">
              <a:extLst>
                <a:ext uri="{FF2B5EF4-FFF2-40B4-BE49-F238E27FC236}">
                  <a16:creationId xmlns:a16="http://schemas.microsoft.com/office/drawing/2014/main" id="{3BF01F5A-E8CE-432A-A3C9-A47A1DE4155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376289" y="1799686"/>
              <a:ext cx="914400" cy="914400"/>
            </a:xfrm>
            <a:prstGeom prst="rect">
              <a:avLst/>
            </a:prstGeom>
          </p:spPr>
        </p:pic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63EC20A0-9B7D-40B5-AF5F-BC154A6C6AD7}"/>
              </a:ext>
            </a:extLst>
          </p:cNvPr>
          <p:cNvSpPr txBox="1"/>
          <p:nvPr/>
        </p:nvSpPr>
        <p:spPr>
          <a:xfrm>
            <a:off x="92612" y="2827230"/>
            <a:ext cx="349347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2400" dirty="0">
                <a:solidFill>
                  <a:schemeClr val="bg1"/>
                </a:solidFill>
              </a:rPr>
              <a:t>Leverages cellular network for accessibility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8A1DFB5-43E9-410C-BFA8-DE332D1F03E0}"/>
              </a:ext>
            </a:extLst>
          </p:cNvPr>
          <p:cNvSpPr txBox="1"/>
          <p:nvPr/>
        </p:nvSpPr>
        <p:spPr>
          <a:xfrm>
            <a:off x="1995267" y="4961889"/>
            <a:ext cx="349347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2400" dirty="0">
                <a:solidFill>
                  <a:schemeClr val="bg1"/>
                </a:solidFill>
              </a:rPr>
              <a:t>Facilitates market through text message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3996ECE-24D0-47D5-AC93-F8ECC0C6E28C}"/>
              </a:ext>
            </a:extLst>
          </p:cNvPr>
          <p:cNvSpPr txBox="1"/>
          <p:nvPr/>
        </p:nvSpPr>
        <p:spPr>
          <a:xfrm>
            <a:off x="3897923" y="2828312"/>
            <a:ext cx="349347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2400" dirty="0">
                <a:solidFill>
                  <a:schemeClr val="bg1"/>
                </a:solidFill>
              </a:rPr>
              <a:t>Connects nearby individuals to trade</a:t>
            </a:r>
          </a:p>
        </p:txBody>
      </p:sp>
      <p:pic>
        <p:nvPicPr>
          <p:cNvPr id="2050" name="Picture 2" descr="https://scontent-ort2-1.xx.fbcdn.net/v/t1.15752-9/54433510_2666249420058258_4655533614430158848_n.jpg?_nc_cat=102&amp;_nc_ht=scontent-ort2-1.xx&amp;oh=e714dfd2293076a09fead40cbc0ecf72&amp;oe=5D0F9BCE">
            <a:extLst>
              <a:ext uri="{FF2B5EF4-FFF2-40B4-BE49-F238E27FC236}">
                <a16:creationId xmlns:a16="http://schemas.microsoft.com/office/drawing/2014/main" id="{A2A6F8F8-85DD-41D2-80F5-FBD1967786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2085" y="504055"/>
            <a:ext cx="3290563" cy="58498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9366456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A427016-4539-4369-B44F-60A4B87BEB56}"/>
              </a:ext>
            </a:extLst>
          </p:cNvPr>
          <p:cNvSpPr/>
          <p:nvPr/>
        </p:nvSpPr>
        <p:spPr>
          <a:xfrm>
            <a:off x="7484012" y="0"/>
            <a:ext cx="4707988" cy="68580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737130B-3598-4A9F-8CD4-66712F6F97A4}"/>
              </a:ext>
            </a:extLst>
          </p:cNvPr>
          <p:cNvSpPr txBox="1"/>
          <p:nvPr/>
        </p:nvSpPr>
        <p:spPr>
          <a:xfrm>
            <a:off x="8006000" y="407963"/>
            <a:ext cx="366401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3200" dirty="0">
                <a:solidFill>
                  <a:schemeClr val="bg1"/>
                </a:solidFill>
              </a:rPr>
              <a:t>Online</a:t>
            </a:r>
          </a:p>
        </p:txBody>
      </p:sp>
      <p:pic>
        <p:nvPicPr>
          <p:cNvPr id="6" name="Graphic 5" descr="Hierarchy">
            <a:extLst>
              <a:ext uri="{FF2B5EF4-FFF2-40B4-BE49-F238E27FC236}">
                <a16:creationId xmlns:a16="http://schemas.microsoft.com/office/drawing/2014/main" id="{959E100C-C36C-4041-ADB9-8183A673D32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380806" y="1400701"/>
            <a:ext cx="914400" cy="914400"/>
          </a:xfrm>
          <a:prstGeom prst="rect">
            <a:avLst/>
          </a:prstGeom>
        </p:spPr>
      </p:pic>
      <p:pic>
        <p:nvPicPr>
          <p:cNvPr id="8" name="Graphic 7" descr="Shopping cart">
            <a:extLst>
              <a:ext uri="{FF2B5EF4-FFF2-40B4-BE49-F238E27FC236}">
                <a16:creationId xmlns:a16="http://schemas.microsoft.com/office/drawing/2014/main" id="{037D1C7D-C14A-4515-A90B-84CFA7485B6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380806" y="3824654"/>
            <a:ext cx="914400" cy="9144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4117301F-A818-4458-816C-1A0275A08901}"/>
              </a:ext>
            </a:extLst>
          </p:cNvPr>
          <p:cNvSpPr txBox="1"/>
          <p:nvPr/>
        </p:nvSpPr>
        <p:spPr>
          <a:xfrm>
            <a:off x="8091267" y="2410057"/>
            <a:ext cx="349347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2400" dirty="0">
                <a:solidFill>
                  <a:schemeClr val="bg1"/>
                </a:solidFill>
              </a:rPr>
              <a:t>Categorizes available products for trad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20EA145-DA72-408D-9A21-9AF5369D0BD2}"/>
              </a:ext>
            </a:extLst>
          </p:cNvPr>
          <p:cNvSpPr txBox="1"/>
          <p:nvPr/>
        </p:nvSpPr>
        <p:spPr>
          <a:xfrm>
            <a:off x="8091267" y="5041800"/>
            <a:ext cx="349347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2400" dirty="0">
                <a:solidFill>
                  <a:schemeClr val="bg1"/>
                </a:solidFill>
              </a:rPr>
              <a:t>Hosts specialty grocery shipping to fulfill order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D15FAD3-305C-47FF-9139-41816D0290E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594" y="1642594"/>
            <a:ext cx="6636802" cy="357281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416726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BW3WJIWke12akImzxIV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zk6ZSHkE6yZ9dVbPkRm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MhiJAaqkKdNuNURPt8k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5YKXBC9KUmI4NAHHBtnM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oq76p7lkStUci67SiN5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n_CHJcYkGQwWHraZwtV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vSA.ekiEeDrYdrI2KW3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YQ2wJCkECAlnKI..dX6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.FlYWag7EmhYEr4STR6l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58RqGrOESBhErD9_Qks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0fae4IpU6LBvptGFt1s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6phaGluUChf569wcKF5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wuDCGlEUqa5GWorYYpf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1F4yubRk2HaGUAK_YNq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gQcrp2xEyIu4WyaEduU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15DvF40E.t.lZKTJLT_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saikaG2UK.Xww5J4G.J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n2Ndv_EkeSJusA2OaBm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nsD3Ie00ye_gpZsPfpJ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nKADJkatkC3d9pLLaIt1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ecXM5eCEW5iuzx00rRj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HeRRAfe0GhNs37tJ6ZZ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of7RRa.WkKIqKb.R3Kh2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Gw5K0vMj0O6WC2EyZydn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Vnhp0_wu0eLbFoSbR.Mo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2CWGVHS3Uaf3XzzcBALU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Le0LHKTEe63PoyL7WUe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watf830yE1IF7JKon8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9d4t69aZEqCHwEOzvCv0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uXSJXxgECJZ8pGS75EY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QOJTpSmEkOIyQQuxRq9v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.92AWgbeU26LZY5yuD.h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2eCVHMxk2tHU5WezROI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CCJ5a__q06lze4dt7mVF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5wSraCkOkisN2dAlaibE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UEsZ1U2EGN8YLVXkPUW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lUIbFNQ0Wkckb93oTEg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0gG7CQc3kyCEtV_KvcP1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HQlBa7Nuk.AXLFQyIE25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hfXmYqNkKu7rgxPcgdr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m7nN9I9UG1onxSJ6Vh0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_poaXyZ0WqHe6eibgTg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4A89_MgEel5DpJaV4FH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Ax4vbOEUiWJ9ZuBiwRY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B5cmzTtESfjagL0NMPs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oWazClv_kySWD5PvjhHc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4XEU6h40WAcV9BgVshO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9HFn_yNkaC6rgGgnom4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5ArWNv_zEmHqOjhDYT4s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zbd86.MUaycIMIl0Vy0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hEtnshbAEGQ7pzdl48zA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ifPvKeWUG8XooV1bIwN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bBlnLHikOhz9Q8AZAmk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9fPuYZzESXVh_1jYzKC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fxxKAo8EqdktdFe.Tjj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q3SsIbCUWKl9PvqGn9P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2Jmh3sy5UySdSXWQdA_n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AT.cLI3ky8HNHWcgOlF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CTBdlRwkinPev2DAqxH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yz.qah8UizytEicU4wm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fhDe1410CkG0Ym6VmMX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VyCFs8mUOvIoMGuXda2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aJkzP_UEOfFApbjX3t.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_vZd9mP0yrn3gvOi7Rm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0hXgb79SEqg5q2dA1fJd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v2HFmvPUqkOwAkWTAbY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mcIi.TQESdCJsDc_Kv_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9tYLjke0iRNeLRy5EMx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KBeMWIyk6S3Iku_mB0X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CDJJSg40mr_2OWnXq6d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lQrLc8hEOXiCQwHc255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__IzYEJUiVwppcHVnIS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ueSl1XMk.PhRQUhAqo6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X.MFvZgUGtupaNQAxvm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QBvZ6HVUCtvXw08Tanw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RXeinbiUK.WR24dT7mg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N1m5vkL0Ge8i4.yS5tJ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sWvcmmLUuU054Br41T8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WLBmcoUUaNYnEWrTORi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8y0nWngUaTxsvolgWob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qKAcvURUKqQN0aWc60U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hinhxDbUyp5n.NcjFJM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a31eDKAE.5ddL41fU9L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4lfYaG2EKrJMiYTLmO.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bNsZdVEkWaUBH3Tat5T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gQNcBDAEeOPQOJOcI_v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_GnH7J9a0Kf3Ec8qtqg6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BR6Wd77EiSns1vewhg1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1R2Z9BMKE.95LspuBorX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0zeARSisU.F5bSSaMYFv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q0If5b_EqOeeEk0t1Bj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k3rgIKUrk6wXGfGD3WhP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Y3Wk5bDkeR9D7r8DoMn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4uU9832J0Kyzdfy.C0vb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4GeLr.Ak6SaSYoMT4lL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.HpW3H9kqreWTjGvKQZ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woZqvhdkWPGxmO3S7Ml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19o_BtI0KTshMViynZm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ZsEsXaXakCxWo1jqfEdM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ufOWz14P0euyNPQreRIm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Tb_JyVSEmt9csBq0.Op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0xekhrukOFnzHUGzb7B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_lfgJzzMEaUx8IrdA7MP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KxAum3q0at67LdWWZER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.sqvz91UyojEVzQx4Vf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s7Uw2oVE6XUuuDffB2H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fohitYHUCUEzZK.YJX2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1gcZmHs0UiV0xXsd.mu3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hJLNXRNEmrwTbu9Ef_t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uyN0MtcMUevE5Bm0or5V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.gjR5Ghz0iKjF9TkXnXk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CQMA2c.EGvrjWlSJCVN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tVYH8qU06rsQAKttkY6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h3ONdee5kG.kd3E60myY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KLVXxbSU2I70DLZFAbr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NBfnv9Pkeg93Ypwg2p2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51XLzJwu0i6b98SD95LB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SF4Z87XEifHYrdQSdhB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750BvrhkmgQDs7XI5QU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82il8xmnkuJ2FFk37OhJ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OU.zk.vUCk0eIB8lAjE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lsASkMwK0.7qugNRypw1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berJVZqU2.yIL7aiFxL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.9sVXMFKE6dEfG4NfKkJ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t9DbYi50uFcgObpeFj3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m1nJXyuUCs7eRxJXEXf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HZ2zykLU.iK4lMQDLES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beTMbsnwUyf1dCElrcNQ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tUAgrMIkmhteme58abi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oNrjqH2ZU2qySc6P7Dsl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914IfX6E.Q64gVGnW5B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TeSfzcGUC6dkmMoh1ws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J3SuJ_Gki1oQwQtzg0F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hFKtl6_0O9io8yoHGk5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mrBdWCgkSJbc1DTCw7A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HuWSql10yvLtGgrHkGZ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jz9PNQ_0uuhtv8n4kHZ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8bQzotuUyc8tlEXPCge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zaWmEEZk.HV2NnbYdq7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1G6IOgvkKqaUIlaMEjL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8YpN9cZECGhK.lGVcnF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HVPN80gxUKGRWW7qH8ME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M0nLNIu0yCz7Ek.o6LO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n6_vA5SEyG6X74u1Zmq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y0kFEk_UmpSQk9bs8VW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E5jh4zWkGJvR65zNUeB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lB0sCssUOZox7RmhaVj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gyMDiKSESljjHBYnlVd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rhGw9g_kWv5xxMG48hc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0uipkG4oEeW6gLYCE9R1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F1ArC580Gs2v4AdA2SCQ"/>
</p:tagLst>
</file>

<file path=ppt/theme/theme1.xml><?xml version="1.0" encoding="utf-8"?>
<a:theme xmlns:a="http://schemas.openxmlformats.org/drawingml/2006/main" name="Office Theme">
  <a:themeElements>
    <a:clrScheme name="Red">
      <a:dk1>
        <a:sysClr val="windowText" lastClr="000000"/>
      </a:dk1>
      <a:lt1>
        <a:sysClr val="window" lastClr="FFFFFF"/>
      </a:lt1>
      <a:dk2>
        <a:srgbClr val="323232"/>
      </a:dk2>
      <a:lt2>
        <a:srgbClr val="E5C243"/>
      </a:lt2>
      <a:accent1>
        <a:srgbClr val="A5300F"/>
      </a:accent1>
      <a:accent2>
        <a:srgbClr val="D55816"/>
      </a:accent2>
      <a:accent3>
        <a:srgbClr val="E19825"/>
      </a:accent3>
      <a:accent4>
        <a:srgbClr val="B19C7D"/>
      </a:accent4>
      <a:accent5>
        <a:srgbClr val="7F5F52"/>
      </a:accent5>
      <a:accent6>
        <a:srgbClr val="B27D49"/>
      </a:accent6>
      <a:hlink>
        <a:srgbClr val="6B9F25"/>
      </a:hlink>
      <a:folHlink>
        <a:srgbClr val="B26B02"/>
      </a:folHlink>
    </a:clrScheme>
    <a:fontScheme name="Custom 1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41</TotalTime>
  <Words>808</Words>
  <Application>Microsoft Office PowerPoint</Application>
  <PresentationFormat>Widescreen</PresentationFormat>
  <Paragraphs>169</Paragraphs>
  <Slides>23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0" baseType="lpstr">
      <vt:lpstr>Malgun Gothic Semilight</vt:lpstr>
      <vt:lpstr>Arial</vt:lpstr>
      <vt:lpstr>Century Gothic</vt:lpstr>
      <vt:lpstr>Corbel</vt:lpstr>
      <vt:lpstr>Lato</vt:lpstr>
      <vt:lpstr>Times New Roman</vt:lpstr>
      <vt:lpstr>Office Theme</vt:lpstr>
      <vt:lpstr>PowerPoint Presentation</vt:lpstr>
      <vt:lpstr>PowerPoint Presentation</vt:lpstr>
      <vt:lpstr>PowerPoint Presentation</vt:lpstr>
      <vt:lpstr> Food insecurity is a severe issue in Canada</vt:lpstr>
      <vt:lpstr> Limited distribution reduces selection of food for locals</vt:lpstr>
      <vt:lpstr>PowerPoint Presentation</vt:lpstr>
      <vt:lpstr> A virtual market place tailored for remote communities</vt:lpstr>
      <vt:lpstr>PowerPoint Presentation</vt:lpstr>
      <vt:lpstr>PowerPoint Presentation</vt:lpstr>
      <vt:lpstr> Scaling our solution to maximize impact</vt:lpstr>
      <vt:lpstr>Thank you</vt:lpstr>
      <vt:lpstr>Appendix</vt:lpstr>
      <vt:lpstr>Appendix I: Inputs and Assumptions</vt:lpstr>
      <vt:lpstr>Appendix II: 5 year projections</vt:lpstr>
      <vt:lpstr>Appendix III: Financial Impacts </vt:lpstr>
      <vt:lpstr>Appendix IV: Risk and Mitigations</vt:lpstr>
      <vt:lpstr>Appendix V: Business Model Alternatives </vt:lpstr>
      <vt:lpstr>Appendix VI: Implementation Timeline</vt:lpstr>
      <vt:lpstr>Appendix VII: Data Monetization </vt:lpstr>
      <vt:lpstr>Appendix VIII: User Profile</vt:lpstr>
      <vt:lpstr>Appendix IX: Household Food Insecurity in Canada </vt:lpstr>
      <vt:lpstr>Appendix X: Barriers to Acquiring Local Food</vt:lpstr>
      <vt:lpstr>Appendix XI: Nutrition North Canada - Food Subsidy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tthew Ou</dc:creator>
  <cp:lastModifiedBy>Sheree Zhang</cp:lastModifiedBy>
  <cp:revision>108</cp:revision>
  <dcterms:created xsi:type="dcterms:W3CDTF">2019-03-17T02:22:27Z</dcterms:created>
  <dcterms:modified xsi:type="dcterms:W3CDTF">2019-03-17T14:52:44Z</dcterms:modified>
</cp:coreProperties>
</file>